
<file path=[Content_Types].xml><?xml version="1.0" encoding="utf-8"?>
<Types xmlns="http://schemas.openxmlformats.org/package/2006/content-types">
  <Default ContentType="image/jpeg" Extension="jpg"/>
  <Default ContentType="application/vnd.openxmlformats-officedocument.vmlDrawing" Extension="vml"/>
  <Default ContentType="application/x-fontdata" Extension="fntdata"/>
  <Default ContentType="image/gif" Extension="gif"/>
  <Default ContentType="application/vnd.openxmlformats-officedocument.oleObject" Extension="bin"/>
  <Default ContentType="application/xml" Extension="xml"/>
  <Default ContentType="image/png" Extension="png"/>
  <Default ContentType="application/vnd.openxmlformats-package.relationships+xml" Extension="rels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4.xml"/>
  <Override ContentType="application/vnd.openxmlformats-officedocument.presentationml.slide+xml" PartName="/ppt/slides/slide18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3.xml"/>
  <Override ContentType="application/vnd.openxmlformats-officedocument.presentationml.slide+xml" PartName="/ppt/slides/slide9.xml"/>
  <Override ContentType="application/vnd.openxmlformats-officedocument.presentationml.slide+xml" PartName="/ppt/slides/slide13.xml"/>
  <Override ContentType="application/vnd.openxmlformats-officedocument.presentationml.slide+xml" PartName="/ppt/slides/slide5.xml"/>
  <Override ContentType="application/vnd.openxmlformats-officedocument.presentationml.slide+xml" PartName="/ppt/slides/slide7.xml"/>
  <Override ContentType="application/vnd.openxmlformats-officedocument.presentationml.slide+xml" PartName="/ppt/slides/slide15.xml"/>
  <Override ContentType="application/vnd.openxmlformats-officedocument.presentationml.slide+xml" PartName="/ppt/slides/slide12.xml"/>
  <Override ContentType="application/vnd.openxmlformats-officedocument.presentationml.slide+xml" PartName="/ppt/slides/slide17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6.xml"/>
  <Override ContentType="application/vnd.openxmlformats-officedocument.presentationml.slide+xml" PartName="/ppt/slides/slide16.xml"/>
  <Override ContentType="application/vnd.openxmlformats-officedocument.presentationml.slide+xml" PartName="/ppt/slides/slide8.xml"/>
  <Override ContentType="application/vnd.openxmlformats-officedocument.presentationml.slide+xml" PartName="/ppt/slides/slide14.xml"/>
  <Override ContentType="application/vnd.openxmlformats-officedocument.oleObject" PartName="/ppt/embeddings/oleObject13.bin"/>
  <Override ContentType="application/vnd.openxmlformats-officedocument.oleObject" PartName="/ppt/embeddings/oleObject9.bin"/>
  <Override ContentType="application/vnd.openxmlformats-officedocument.oleObject" PartName="/ppt/embeddings/oleObject6.bin"/>
  <Override ContentType="application/vnd.openxmlformats-officedocument.oleObject" PartName="/ppt/embeddings/oleObject4.bin"/>
  <Override ContentType="application/vnd.openxmlformats-officedocument.oleObject" PartName="/ppt/embeddings/oleObject11.bin"/>
  <Override ContentType="application/vnd.openxmlformats-officedocument.oleObject" PartName="/ppt/embeddings/oleObject1.bin"/>
  <Override ContentType="application/vnd.openxmlformats-officedocument.oleObject" PartName="/ppt/embeddings/oleObject8.bin"/>
  <Override ContentType="application/vnd.openxmlformats-officedocument.oleObject" PartName="/ppt/embeddings/oleObject12.bin"/>
  <Override ContentType="application/vnd.openxmlformats-officedocument.oleObject" PartName="/ppt/embeddings/oleObject3.bin"/>
  <Override ContentType="application/vnd.openxmlformats-officedocument.oleObject" PartName="/ppt/embeddings/oleObject5.bin"/>
  <Override ContentType="application/vnd.openxmlformats-officedocument.oleObject" PartName="/ppt/embeddings/oleObject7.bin"/>
  <Override ContentType="application/vnd.openxmlformats-officedocument.oleObject" PartName="/ppt/embeddings/oleObject2.bin"/>
  <Override ContentType="application/vnd.openxmlformats-officedocument.oleObject" PartName="/ppt/embeddings/oleObject10.bin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10.xml"/>
  <Override ContentType="application/binary" PartName="/ppt/metadata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  <Override ContentType="application/vnd.openxmlformats-officedocument.presentationml.viewProps+xml" PartName="/ppt/viewProps.xml"/>
</Types>
</file>

<file path=_rels/.rels><?xml version="1.0" encoding="UTF-8" standalone="yes"?>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embedTrueTypeFonts="1" strictFirstAndLastChars="0" saveSubsetFonts="1" showSpecialPlsOnTitleSld="0">
  <p:sldMasterIdLst>
    <p:sldMasterId id="2147483648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</p:sldIdLst>
  <p:sldSz cy="6858000" cx="12192000"/>
  <p:notesSz cx="7099300" cy="10234600"/>
  <p:embeddedFontLst>
    <p:embeddedFont>
      <p:font typeface="Roboto"/>
      <p:regular r:id="rId25"/>
      <p:bold r:id="rId26"/>
      <p:italic r:id="rId27"/>
      <p:boldItalic r:id="rId28"/>
    </p:embeddedFont>
    <p:embeddedFont>
      <p:font typeface="Arimo"/>
      <p:regular r:id="rId29"/>
      <p:bold r:id="rId30"/>
      <p:italic r:id="rId31"/>
      <p:boldItalic r:id="rId32"/>
    </p:embeddedFont>
    <p:embeddedFont>
      <p:font typeface="Helvetica Neue"/>
      <p:regular r:id="rId33"/>
      <p:bold r:id="rId34"/>
      <p:italic r:id="rId35"/>
      <p:boldItalic r:id="rId36"/>
    </p:embeddedFont>
  </p:embeddedFontLst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>
        <p15:guide id="1" orient="horz" pos="2160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42">
          <p15:clr>
            <a:srgbClr val="A4A3A4"/>
          </p15:clr>
        </p15:guide>
        <p15:guide id="4" pos="7499">
          <p15:clr>
            <a:srgbClr val="A4A3A4"/>
          </p15:clr>
        </p15:guide>
        <p15:guide id="5" pos="21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  <p:ext uri="http://customooxmlschemas.google.com/">
      <go:slidesCustomData xmlns:go="http://customooxmlschemas.google.com/" r:id="rId37" roundtripDataSignature="AMtx7mgK2HKbmSj/y+rG4GqzFcWQQAZIe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tableStyles.xml><?xml version="1.0" encoding="utf-8"?>
<a:tblStyleLst xmlns:a="http://schemas.openxmlformats.org/drawingml/2006/main" xmlns:r="http://schemas.openxmlformats.org/officeDocument/2006/relationships" def="{EDD43BCF-93D1-48EB-A1A4-A873C16A9872}">
  <a:tblStyle styleId="{EDD43BCF-93D1-48EB-A1A4-A873C16A9872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left>
          <a:right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right>
          <a:top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top>
          <a:bottom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bottom>
          <a:insideH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insideH>
          <a:insideV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insideV>
        </a:tcBdr>
      </a:tcStyle>
    </a:wholeTbl>
    <a:band1H>
      <a:tcTxStyle/>
    </a:band1H>
    <a:band2H>
      <a:tcTxStyle/>
    </a:band2H>
    <a:band1V>
      <a:tcTxStyle/>
    </a:band1V>
    <a:band2V>
      <a:tcTxStyle/>
    </a:band2V>
    <a:lastCol>
      <a:tcTxStyle/>
    </a:lastCol>
    <a:firstCol>
      <a:tcTxStyle/>
    </a:firstCol>
    <a:lastRow>
      <a:tcTxStyle/>
    </a:lastRow>
    <a:seCell>
      <a:tcTxStyle/>
    </a:seCell>
    <a:swCell>
      <a:tcTxStyle/>
    </a:swCell>
    <a:firstRow>
      <a:tcTxStyle/>
    </a:firstRow>
    <a:neCell>
      <a:tcTxStyle/>
    </a:neCell>
    <a:nwCell>
      <a:tcTxStyle/>
    </a:nwCell>
  </a:tblStyle>
  <a:tblStyle styleId="{3348B197-56B8-4D6E-A94A-5D7A3F61D175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left>
          <a:right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right>
          <a:top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top>
          <a:bottom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bottom>
          <a:insideH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insideH>
          <a:insideV>
            <a:ln cap="flat" cmpd="sng" w="9525">
              <a:solidFill>
                <a:srgbClr val="9E9E9E"/>
              </a:solidFill>
              <a:prstDash val="solid"/>
              <a:round/>
              <a:headEnd len="sm" w="sm" type="none"/>
              <a:tailEnd len="sm" w="sm" type="none"/>
            </a:ln>
          </a:insideV>
        </a:tcBdr>
      </a:tcStyle>
    </a:wholeTbl>
    <a:band1H>
      <a:tcTxStyle b="off" i="off"/>
    </a:band1H>
    <a:band2H>
      <a:tcTxStyle b="off" i="off"/>
    </a:band2H>
    <a:band1V>
      <a:tcTxStyle b="off" i="off"/>
    </a:band1V>
    <a:band2V>
      <a:tcTxStyle b="off" i="off"/>
    </a:band2V>
    <a:lastCol>
      <a:tcTxStyle b="off" i="off"/>
    </a:lastCol>
    <a:firstCol>
      <a:tcTxStyle b="off" i="off"/>
    </a:firstCol>
    <a:lastRow>
      <a:tcTxStyle b="off" i="off"/>
    </a:lastRow>
    <a:seCell>
      <a:tcTxStyle b="off" i="off"/>
    </a:seCell>
    <a:swCell>
      <a:tcTxStyle b="off" i="off"/>
    </a:swCell>
    <a:firstRow>
      <a:tcTxStyle b="off" i="off"/>
    </a:firstRow>
    <a:neCell>
      <a:tcTxStyle b="off" i="off"/>
    </a:neCell>
    <a:nwCell>
      <a:tcTxStyle b="off" i="off"/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160" orient="horz"/>
        <p:guide pos="618" orient="horz"/>
        <p:guide pos="4042" orient="horz"/>
        <p:guide pos="7499"/>
        <p:guide pos="211"/>
        <p:guide pos="3840"/>
      </p:guideLst>
    </p:cSldViewPr>
  </p:slide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pos="3224" orient="horz"/>
        <p:guide pos="2236"/>
      </p:guideLst>
    </p:cSldViewPr>
  </p:notes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slide" Target="slides/slide14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1" Type="http://schemas.openxmlformats.org/officeDocument/2006/relationships/theme" Target="theme/theme1.xml"/><Relationship Id="rId2" Type="http://schemas.openxmlformats.org/officeDocument/2006/relationships/viewProps" Target="viewProps.xml"/><Relationship Id="rId3" Type="http://schemas.openxmlformats.org/officeDocument/2006/relationships/presProps" Target="presProps.xml"/><Relationship Id="rId4" Type="http://schemas.openxmlformats.org/officeDocument/2006/relationships/tableStyles" Target="tableStyles.xml"/><Relationship Id="rId9" Type="http://schemas.openxmlformats.org/officeDocument/2006/relationships/slide" Target="slides/slide3.xml"/><Relationship Id="rId26" Type="http://schemas.openxmlformats.org/officeDocument/2006/relationships/font" Target="fonts/Roboto-bold.fntdata"/><Relationship Id="rId25" Type="http://schemas.openxmlformats.org/officeDocument/2006/relationships/font" Target="fonts/Roboto-regular.fntdata"/><Relationship Id="rId28" Type="http://schemas.openxmlformats.org/officeDocument/2006/relationships/font" Target="fonts/Roboto-boldItalic.fntdata"/><Relationship Id="rId27" Type="http://schemas.openxmlformats.org/officeDocument/2006/relationships/font" Target="fonts/Roboto-italic.fntdata"/><Relationship Id="rId5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29" Type="http://schemas.openxmlformats.org/officeDocument/2006/relationships/font" Target="fonts/Arimo-regular.fntdata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1" Type="http://schemas.openxmlformats.org/officeDocument/2006/relationships/font" Target="fonts/Arimo-italic.fntdata"/><Relationship Id="rId30" Type="http://schemas.openxmlformats.org/officeDocument/2006/relationships/font" Target="fonts/Arimo-bold.fntdata"/><Relationship Id="rId11" Type="http://schemas.openxmlformats.org/officeDocument/2006/relationships/slide" Target="slides/slide5.xml"/><Relationship Id="rId33" Type="http://schemas.openxmlformats.org/officeDocument/2006/relationships/font" Target="fonts/HelveticaNeue-regular.fntdata"/><Relationship Id="rId10" Type="http://schemas.openxmlformats.org/officeDocument/2006/relationships/slide" Target="slides/slide4.xml"/><Relationship Id="rId32" Type="http://schemas.openxmlformats.org/officeDocument/2006/relationships/font" Target="fonts/Arimo-boldItalic.fntdata"/><Relationship Id="rId13" Type="http://schemas.openxmlformats.org/officeDocument/2006/relationships/slide" Target="slides/slide7.xml"/><Relationship Id="rId35" Type="http://schemas.openxmlformats.org/officeDocument/2006/relationships/font" Target="fonts/HelveticaNeue-italic.fntdata"/><Relationship Id="rId12" Type="http://schemas.openxmlformats.org/officeDocument/2006/relationships/slide" Target="slides/slide6.xml"/><Relationship Id="rId34" Type="http://schemas.openxmlformats.org/officeDocument/2006/relationships/font" Target="fonts/HelveticaNeue-bold.fntdata"/><Relationship Id="rId15" Type="http://schemas.openxmlformats.org/officeDocument/2006/relationships/slide" Target="slides/slide9.xml"/><Relationship Id="rId37" Type="http://customschemas.google.com/relationships/presentationmetadata" Target="metadata"/><Relationship Id="rId14" Type="http://schemas.openxmlformats.org/officeDocument/2006/relationships/slide" Target="slides/slide8.xml"/><Relationship Id="rId36" Type="http://schemas.openxmlformats.org/officeDocument/2006/relationships/font" Target="fonts/HelveticaNeue-boldItalic.fntdata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9" Type="http://schemas.openxmlformats.org/officeDocument/2006/relationships/slide" Target="slides/slide13.xml"/><Relationship Id="rId18" Type="http://schemas.openxmlformats.org/officeDocument/2006/relationships/slide" Target="slides/slide12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0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1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2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3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6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7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8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9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/>
          <p:nvPr>
            <p:ph idx="2" type="hdr"/>
          </p:nvPr>
        </p:nvSpPr>
        <p:spPr>
          <a:xfrm>
            <a:off x="0" y="0"/>
            <a:ext cx="3077137" cy="512222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3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4" name="Google Shape;4;n"/>
          <p:cNvSpPr txBox="1"/>
          <p:nvPr>
            <p:ph idx="10" type="dt"/>
          </p:nvPr>
        </p:nvSpPr>
        <p:spPr>
          <a:xfrm>
            <a:off x="4022163" y="0"/>
            <a:ext cx="3077137" cy="512222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>
            <a:lvl1pPr lv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3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5" name="Google Shape;5;n"/>
          <p:cNvSpPr/>
          <p:nvPr>
            <p:ph idx="3" type="sldImg"/>
          </p:nvPr>
        </p:nvSpPr>
        <p:spPr>
          <a:xfrm>
            <a:off x="141288" y="769938"/>
            <a:ext cx="6816725" cy="38354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6" name="Google Shape;6;n"/>
          <p:cNvSpPr txBox="1"/>
          <p:nvPr>
            <p:ph idx="1" type="body"/>
          </p:nvPr>
        </p:nvSpPr>
        <p:spPr>
          <a:xfrm>
            <a:off x="946685" y="4862015"/>
            <a:ext cx="5205932" cy="4605085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1pPr>
            <a:lvl2pPr indent="-228600" lvl="1" marL="9144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2pPr>
            <a:lvl3pPr indent="-228600" lvl="2" marL="13716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3pPr>
            <a:lvl4pPr indent="-228600" lvl="3" marL="18288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-228600" lvl="6" marL="3200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-228600" lvl="7" marL="3657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-228600" lvl="8" marL="4114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0" y="9722392"/>
            <a:ext cx="3077137" cy="512221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3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4022163" y="9722392"/>
            <a:ext cx="3077137" cy="512221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/>
          <a:p>
            <a: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fld id="{00000000-1234-1234-1234-123412341234}" type="slidenum">
              <a:rPr b="0" i="0" lang="en-US" sz="1300" u="none" cap="none" strike="noStrike">
                <a:solidFill>
                  <a:schemeClr val="dk1"/>
                </a:solidFill>
                <a:latin typeface="Arimo"/>
                <a:ea typeface="Arimo"/>
                <a:cs typeface="Arimo"/>
                <a:sym typeface="Arimo"/>
              </a:rPr>
              <a:t>‹#›</a:t>
            </a:fld>
            <a:endParaRPr b="0" i="0" sz="1300" u="none" cap="none" strike="noStrike">
              <a:solidFill>
                <a:schemeClr val="dk1"/>
              </a:solidFill>
              <a:latin typeface="Arimo"/>
              <a:ea typeface="Arimo"/>
              <a:cs typeface="Arimo"/>
              <a:sym typeface="Arimo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hyperlink" Target="https://www.upstream.auto/blog/infographic-top-real-world-threats-facing-connected-cars-fleets/" TargetMode="External"/><Relationship Id="rId3" Type="http://schemas.openxmlformats.org/officeDocument/2006/relationships/hyperlink" Target="https://edps.europa.eu/data-protection/our-work/publications/techdispatch/techdispatch-3-connected-cars_en" TargetMode="Externa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hyperlink" Target="https://academic.oup.com/jamia/article/16/5/670/804120#100523873" TargetMode="External"/></Relationships>
</file>

<file path=ppt/notesSlides/_rels/notesSlide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hyperlink" Target="https://academic.oup.com/jamia/article/16/5/670/804120#100523873" TargetMode="External"/></Relationships>
</file>

<file path=ppt/notesSlides/_rels/notesSlide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8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1:notes"/>
          <p:cNvSpPr/>
          <p:nvPr>
            <p:ph idx="2" type="sldImg"/>
          </p:nvPr>
        </p:nvSpPr>
        <p:spPr>
          <a:xfrm>
            <a:off x="141288" y="769938"/>
            <a:ext cx="6816725" cy="38354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100" name="Google Shape;100;p1:notes"/>
          <p:cNvSpPr txBox="1"/>
          <p:nvPr>
            <p:ph idx="1" type="body"/>
          </p:nvPr>
        </p:nvSpPr>
        <p:spPr>
          <a:xfrm>
            <a:off x="946685" y="4862015"/>
            <a:ext cx="5205932" cy="4605085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101" name="Google Shape;101;p1:notes"/>
          <p:cNvSpPr txBox="1"/>
          <p:nvPr>
            <p:ph idx="12" type="sldNum"/>
          </p:nvPr>
        </p:nvSpPr>
        <p:spPr>
          <a:xfrm>
            <a:off x="4022163" y="9722392"/>
            <a:ext cx="3077137" cy="512221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47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a481ec144d_0_255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Smart home/smart charging stations based on charging data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400">
                <a:latin typeface="Arial"/>
                <a:ea typeface="Arial"/>
                <a:cs typeface="Arial"/>
                <a:sym typeface="Arial"/>
              </a:rPr>
              <a:t>Workshops can deliver individual or customer specific maintenance service based on service related data </a:t>
            </a:r>
            <a:endParaRPr/>
          </a:p>
        </p:txBody>
      </p:sp>
      <p:sp>
        <p:nvSpPr>
          <p:cNvPr id="249" name="Google Shape;249;ga481ec144d_0_255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63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Google Shape;264;ga481ec144d_0_157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265" name="Google Shape;265;ga481ec144d_0_157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78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a481ec144d_0_185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280" name="Google Shape;280;ga481ec144d_0_185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93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ga481ec144d_0_226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295" name="Google Shape;295;ga481ec144d_0_226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13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g8e7506b2d6_0_28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15" name="Google Shape;315;g8e7506b2d6_0_28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28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g97f541309a_0_15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30" name="Google Shape;330;g97f541309a_0_15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4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97f541309a_0_35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May be add attribute type here ?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43" name="Google Shape;343;g97f541309a_0_35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54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g9b00a01923_0_0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56" name="Google Shape;356;g9b00a01923_0_0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57" name="Google Shape;357;g9b00a01923_0_0:notes"/>
          <p:cNvSpPr txBox="1"/>
          <p:nvPr>
            <p:ph idx="12" type="sldNum"/>
          </p:nvPr>
        </p:nvSpPr>
        <p:spPr>
          <a:xfrm>
            <a:off x="4022163" y="9722392"/>
            <a:ext cx="3077100" cy="512100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64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20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66" name="Google Shape;366;p20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67" name="Google Shape;367;p20:notes"/>
          <p:cNvSpPr txBox="1"/>
          <p:nvPr>
            <p:ph idx="12" type="sldNum"/>
          </p:nvPr>
        </p:nvSpPr>
        <p:spPr>
          <a:xfrm>
            <a:off x="4022163" y="9722392"/>
            <a:ext cx="3077100" cy="512100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6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:notes"/>
          <p:cNvSpPr/>
          <p:nvPr>
            <p:ph idx="2" type="sldImg"/>
          </p:nvPr>
        </p:nvSpPr>
        <p:spPr>
          <a:xfrm>
            <a:off x="141288" y="769938"/>
            <a:ext cx="6816725" cy="38354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108" name="Google Shape;108;p2:notes"/>
          <p:cNvSpPr txBox="1"/>
          <p:nvPr>
            <p:ph idx="1" type="body"/>
          </p:nvPr>
        </p:nvSpPr>
        <p:spPr>
          <a:xfrm>
            <a:off x="946685" y="4862015"/>
            <a:ext cx="5205932" cy="4605085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109" name="Google Shape;109;p2:notes"/>
          <p:cNvSpPr txBox="1"/>
          <p:nvPr>
            <p:ph idx="12" type="sldNum"/>
          </p:nvPr>
        </p:nvSpPr>
        <p:spPr>
          <a:xfrm>
            <a:off x="4022163" y="9722392"/>
            <a:ext cx="3077137" cy="512221"/>
          </a:xfrm>
          <a:prstGeom prst="rect">
            <a:avLst/>
          </a:prstGeom>
          <a:noFill/>
          <a:ln>
            <a:noFill/>
          </a:ln>
        </p:spPr>
        <p:txBody>
          <a:bodyPr anchorCtr="0" anchor="b" bIns="49500" lIns="99025" spcFirstLastPara="1" rIns="99025" wrap="square" tIns="495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16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ga481ec144d_0_0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 sz="11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2"/>
              </a:rPr>
              <a:t>https://www.upstream.auto/blog/infographic-top-real-world-threats-facing-connected-cars-fleets/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 sz="11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https://edps.europa.eu/data-protection/our-work/publications/techdispatch/techdispatch-3-connected-cars_en</a:t>
            </a:r>
            <a:endParaRPr/>
          </a:p>
        </p:txBody>
      </p:sp>
      <p:sp>
        <p:nvSpPr>
          <p:cNvPr id="118" name="Google Shape;118;ga481ec144d_0_0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34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ga481ec144d_0_17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136" name="Google Shape;136;ga481ec144d_0_17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49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ga481ec144d_0_31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what are the requirements for k-anonimity for big data implementation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ow can k-anonymity be implemented for big data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rPr lang="en-US"/>
              <a:t>How does the solution architecture for k-anonimity look like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rPr lang="en-US"/>
              <a:t>How can k-anonymity be implemented for big data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rPr lang="en-US"/>
              <a:t>How can a k-anonymity implementation for big data look like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rPr lang="en-US"/>
              <a:t>How can we design a k-anonymity implementation for big data?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rPr lang="en-US"/>
              <a:t>Overall goal: Design of a k-anonymity implementation for big data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100"/>
              <a:buNone/>
            </a:pPr>
            <a:r>
              <a:t/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151" name="Google Shape;151;ga481ec144d_0_31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76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ga481ec144d_0_267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Technique to be chosen depends on data model also.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 sz="11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2"/>
              </a:rPr>
              <a:t>https://academic.oup.com/jamia/article/16/5/670/804120#100523873</a:t>
            </a:r>
            <a:endParaRPr/>
          </a:p>
        </p:txBody>
      </p:sp>
      <p:sp>
        <p:nvSpPr>
          <p:cNvPr id="178" name="Google Shape;178;ga481ec144d_0_267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95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a481ec144d_0_285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197" name="Google Shape;197;ga481ec144d_0_285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14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a481ec144d_0_303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/>
              <a:t>Technique to be chosen depends on data model also.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rPr lang="en-US" sz="11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2"/>
              </a:rPr>
              <a:t>https://academic.oup.com/jamia/article/16/5/670/804120#100523873</a:t>
            </a:r>
            <a:endParaRPr/>
          </a:p>
        </p:txBody>
      </p:sp>
      <p:sp>
        <p:nvSpPr>
          <p:cNvPr id="216" name="Google Shape;216;ga481ec144d_0_303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232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a481ec144d_0_199:notes"/>
          <p:cNvSpPr txBox="1"/>
          <p:nvPr>
            <p:ph idx="1" type="body"/>
          </p:nvPr>
        </p:nvSpPr>
        <p:spPr>
          <a:xfrm>
            <a:off x="946685" y="4862015"/>
            <a:ext cx="5205900" cy="46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49500" lIns="99025" spcFirstLastPara="1" rIns="99025" wrap="square" tIns="495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234" name="Google Shape;234;ga481ec144d_0_199:notes"/>
          <p:cNvSpPr/>
          <p:nvPr>
            <p:ph idx="2" type="sldImg"/>
          </p:nvPr>
        </p:nvSpPr>
        <p:spPr>
          <a:xfrm>
            <a:off x="141288" y="769938"/>
            <a:ext cx="6816600" cy="38355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2.vml"/><Relationship Id="rId3" Type="http://schemas.openxmlformats.org/officeDocument/2006/relationships/oleObject" Target="../embeddings/oleObject2.bin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jpg"/><Relationship Id="rId7" Type="http://schemas.openxmlformats.org/officeDocument/2006/relationships/image" Target="../media/image6.jpg"/><Relationship Id="rId8" Type="http://schemas.openxmlformats.org/officeDocument/2006/relationships/image" Target="../media/image2.png"/></Relationships>
</file>

<file path=ppt/slideLayouts/_rels/slideLayout1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11.vml"/><Relationship Id="rId3" Type="http://schemas.openxmlformats.org/officeDocument/2006/relationships/oleObject" Target="../embeddings/oleObject11.bin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png"/></Relationships>
</file>

<file path=ppt/slideLayouts/_rels/slideLayout1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3.vml"/><Relationship Id="rId3" Type="http://schemas.openxmlformats.org/officeDocument/2006/relationships/oleObject" Target="../embeddings/oleObject3.bin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png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4.vml"/><Relationship Id="rId3" Type="http://schemas.openxmlformats.org/officeDocument/2006/relationships/oleObject" Target="../embeddings/oleObject4.bin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png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5.vml"/><Relationship Id="rId3" Type="http://schemas.openxmlformats.org/officeDocument/2006/relationships/oleObject" Target="../embeddings/oleObject5.bin"/><Relationship Id="rId4" Type="http://schemas.openxmlformats.org/officeDocument/2006/relationships/oleObject" Target="../embeddings/oleObject5.bin"/><Relationship Id="rId9" Type="http://schemas.openxmlformats.org/officeDocument/2006/relationships/hyperlink" Target="http://wwwmatthes.in.tum.de/" TargetMode="External"/><Relationship Id="rId5" Type="http://schemas.openxmlformats.org/officeDocument/2006/relationships/image" Target="../media/image3.png"/><Relationship Id="rId6" Type="http://schemas.openxmlformats.org/officeDocument/2006/relationships/image" Target="../media/image8.jpg"/><Relationship Id="rId7" Type="http://schemas.openxmlformats.org/officeDocument/2006/relationships/image" Target="../media/image7.png"/><Relationship Id="rId8" Type="http://schemas.openxmlformats.org/officeDocument/2006/relationships/image" Target="../media/image5.gif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6.vml"/><Relationship Id="rId3" Type="http://schemas.openxmlformats.org/officeDocument/2006/relationships/oleObject" Target="../embeddings/oleObject6.bin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png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7.vml"/><Relationship Id="rId3" Type="http://schemas.openxmlformats.org/officeDocument/2006/relationships/oleObject" Target="../embeddings/oleObject7.bin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png"/></Relationships>
</file>

<file path=ppt/slideLayouts/_rels/slideLayout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8.vml"/><Relationship Id="rId3" Type="http://schemas.openxmlformats.org/officeDocument/2006/relationships/oleObject" Target="../embeddings/oleObject8.bin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png"/></Relationships>
</file>

<file path=ppt/slideLayouts/_rels/slideLayout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9.vml"/><Relationship Id="rId3" Type="http://schemas.openxmlformats.org/officeDocument/2006/relationships/oleObject" Target="../embeddings/oleObject9.bin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png"/></Relationships>
</file>

<file path=ppt/slideLayouts/_rels/slideLayout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10.vml"/><Relationship Id="rId3" Type="http://schemas.openxmlformats.org/officeDocument/2006/relationships/oleObject" Target="../embeddings/oleObject10.bin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elfolie">
  <p:cSld name="Titelfolie">
    <p:spTree>
      <p:nvGrpSpPr>
        <p:cNvPr id="17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oogle Shape;18;p22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18" name="Google Shape;18;p2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oogle Shape;19;p22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-7616" y="2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2"/>
          <p:cNvSpPr/>
          <p:nvPr/>
        </p:nvSpPr>
        <p:spPr>
          <a:xfrm>
            <a:off x="0" y="0"/>
            <a:ext cx="12192000" cy="4196080"/>
          </a:xfrm>
          <a:prstGeom prst="rect">
            <a:avLst/>
          </a:prstGeom>
          <a:gradFill>
            <a:gsLst>
              <a:gs pos="0">
                <a:srgbClr val="FFFFFF">
                  <a:alpha val="83529"/>
                </a:srgbClr>
              </a:gs>
              <a:gs pos="23000">
                <a:srgbClr val="FFFFFF">
                  <a:alpha val="83529"/>
                </a:srgbClr>
              </a:gs>
              <a:gs pos="93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Google Shape;21;p22"/>
          <p:cNvSpPr txBox="1"/>
          <p:nvPr>
            <p:ph type="title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72000" lIns="90000" spcFirstLastPara="1" rIns="90000" wrap="square" tIns="14400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3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2" name="Google Shape;22;p22"/>
          <p:cNvSpPr txBox="1"/>
          <p:nvPr>
            <p:ph idx="1" type="body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>
            <a:lvl1pPr indent="-228600" lvl="0" marL="457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666666"/>
              </a:buClr>
              <a:buSzPts val="1600"/>
              <a:buFont typeface="Arial"/>
              <a:buNone/>
              <a:defRPr b="0" sz="1600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indent="-2286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Font typeface="Arial"/>
              <a:buNone/>
              <a:defRPr/>
            </a:lvl3pPr>
            <a:lvl4pPr indent="-2286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/>
            </a:lvl4pPr>
            <a:lvl5pPr indent="-2286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pic>
        <p:nvPicPr>
          <p:cNvPr id="23" name="Google Shape;23;p22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431371" y="398812"/>
            <a:ext cx="997527" cy="320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24;p22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11255861" y="398812"/>
            <a:ext cx="606858" cy="320055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22"/>
          <p:cNvSpPr txBox="1"/>
          <p:nvPr/>
        </p:nvSpPr>
        <p:spPr>
          <a:xfrm>
            <a:off x="425454" y="4643381"/>
            <a:ext cx="11438759" cy="1225290"/>
          </a:xfrm>
          <a:prstGeom prst="rect">
            <a:avLst/>
          </a:prstGeom>
          <a:solidFill>
            <a:srgbClr val="EAF3FA"/>
          </a:solidFill>
          <a:ln>
            <a:noFill/>
          </a:ln>
        </p:spPr>
        <p:txBody>
          <a:bodyPr anchorCtr="0" anchor="t" bIns="180000" lIns="252000" spcFirstLastPara="1" rIns="180000" wrap="square" tIns="1800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0" i="0" lang="en-US" sz="1400" u="none" cap="none" strike="noStrik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rPr>
              <a:t>Chair of Software Engineering for Business Information Systems (sebis) 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0" i="0" lang="en-US" sz="1400" u="none" cap="none" strike="noStrik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rPr>
              <a:t>Faculty of Informatics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0" i="0" lang="en-US" sz="14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Technische Universität München</a:t>
            </a:r>
            <a:endParaRPr b="0" i="0" sz="1400" u="none" cap="none" strike="noStrik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0" i="0" lang="en-US" sz="1400" u="sng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wwwmatthes.in.tum.de</a:t>
            </a:r>
            <a:endParaRPr b="0" i="0" sz="1400" u="sng" cap="none" strike="noStrik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el mittig" showMasterSp="0">
  <p:cSld name="Titel mittig">
    <p:spTree>
      <p:nvGrpSpPr>
        <p:cNvPr id="9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Google Shape;92;p3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92" name="Google Shape;92;p3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Google Shape;93;p31"/>
          <p:cNvSpPr txBox="1"/>
          <p:nvPr>
            <p:ph type="title"/>
          </p:nvPr>
        </p:nvSpPr>
        <p:spPr>
          <a:xfrm>
            <a:off x="334433" y="44451"/>
            <a:ext cx="11523133" cy="65246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90000" spcFirstLastPara="1" rIns="90000" wrap="square" tIns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4" name="Google Shape;94;p31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5" name="Google Shape;95;p31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6" name="Google Shape;96;p31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Leer" showMasterSp="0" type="blank">
  <p:cSld name="BLANK">
    <p:spTree>
      <p:nvGrpSpPr>
        <p:cNvPr id="97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Gliederung" type="obj">
  <p:cSld name="OBJECT">
    <p:spTree>
      <p:nvGrpSpPr>
        <p:cNvPr id="26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Google Shape;27;p23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27" name="Google Shape;27;p2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Google Shape;28;p23"/>
          <p:cNvSpPr txBox="1"/>
          <p:nvPr>
            <p:ph idx="1" type="body"/>
          </p:nvPr>
        </p:nvSpPr>
        <p:spPr>
          <a:xfrm>
            <a:off x="334435" y="981076"/>
            <a:ext cx="11523135" cy="54006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▪"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▪"/>
              <a:def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302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Char char="▪"/>
              <a:def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302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Char char="▪"/>
              <a:defRPr>
                <a:solidFill>
                  <a:schemeClr val="dk1"/>
                </a:solidFill>
              </a:defRPr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29" name="Google Shape;29;p23"/>
          <p:cNvSpPr txBox="1"/>
          <p:nvPr>
            <p:ph type="title"/>
          </p:nvPr>
        </p:nvSpPr>
        <p:spPr>
          <a:xfrm>
            <a:off x="334437" y="44452"/>
            <a:ext cx="10586099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0" name="Google Shape;30;p23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1" name="Google Shape;31;p23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2" name="Google Shape;32;p23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el und Inhalt">
  <p:cSld name="Titel und Inhalt">
    <p:spTree>
      <p:nvGrpSpPr>
        <p:cNvPr id="33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Google Shape;34;p24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34" name="Google Shape;34;p24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24"/>
          <p:cNvSpPr txBox="1"/>
          <p:nvPr>
            <p:ph type="title"/>
          </p:nvPr>
        </p:nvSpPr>
        <p:spPr>
          <a:xfrm>
            <a:off x="334437" y="44452"/>
            <a:ext cx="10586099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sz="2400">
                <a:solidFill>
                  <a:srgbClr val="0065BD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6" name="Google Shape;36;p24"/>
          <p:cNvSpPr txBox="1"/>
          <p:nvPr>
            <p:ph idx="1" type="body"/>
          </p:nvPr>
        </p:nvSpPr>
        <p:spPr>
          <a:xfrm>
            <a:off x="334434" y="981076"/>
            <a:ext cx="11523133" cy="54006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37" name="Google Shape;37;p24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8" name="Google Shape;38;p24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9" name="Google Shape;39;p24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>
        <p15:guide id="1" orient="horz" pos="2160">
          <p15:clr>
            <a:srgbClr val="FBAE40"/>
          </p15:clr>
        </p15:guide>
        <p15:guide id="2" pos="68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Ende" showMasterSp="0">
  <p:cSld name="Ende">
    <p:spTree>
      <p:nvGrpSpPr>
        <p:cNvPr id="40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Google Shape;41;p25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41" name="Google Shape;41;p25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Gebaeude_Fahne" id="42" name="Google Shape;42;p25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0" y="-27384"/>
            <a:ext cx="12192000" cy="6893697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25"/>
          <p:cNvSpPr/>
          <p:nvPr/>
        </p:nvSpPr>
        <p:spPr>
          <a:xfrm>
            <a:off x="767407" y="1743185"/>
            <a:ext cx="3240361" cy="4742688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0800" rotWithShape="0" algn="tl" dir="2700000" dist="12700">
              <a:srgbClr val="000000">
                <a:alpha val="40000"/>
              </a:srgbClr>
            </a:outerShdw>
          </a:effectLst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4" name="Google Shape;44;p25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3049370" y="2024110"/>
            <a:ext cx="682753" cy="359665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sebis-Logo.gif" id="45" name="Google Shape;45;p25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3098009" y="2514436"/>
            <a:ext cx="720000" cy="23088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25"/>
          <p:cNvSpPr txBox="1"/>
          <p:nvPr/>
        </p:nvSpPr>
        <p:spPr>
          <a:xfrm>
            <a:off x="1040407" y="4123820"/>
            <a:ext cx="2751118" cy="2192908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chnische Universität München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aculty of Informatics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ir of Software Engineering for Business Information Systems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t/>
            </a:r>
            <a:endParaRPr b="0" i="0" sz="105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oltzmannstraße 3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85748 Garching bei München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t/>
            </a:r>
            <a:endParaRPr b="0" i="0" sz="105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l	+49.89.289.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ax	+49.89.289.17136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t/>
            </a:r>
            <a:endParaRPr b="0" i="0" sz="105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t/>
            </a:r>
            <a:endParaRPr b="0" i="0" sz="105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b="0" i="0" lang="en-US" sz="1050" u="sng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9">
                  <a:extLst>
                    <a:ext uri="{A12FA001-AC4F-418D-AE19-62706E023703}">
                      <ahyp:hlinkClr val="tx"/>
                    </a:ext>
                  </a:extLst>
                </a:hlinkClick>
              </a:rPr>
              <a:t>wwwmatthes.in.tum.de</a:t>
            </a:r>
            <a:endParaRPr b="0" i="0" sz="105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25"/>
          <p:cNvSpPr txBox="1"/>
          <p:nvPr>
            <p:ph idx="1" type="body"/>
          </p:nvPr>
        </p:nvSpPr>
        <p:spPr>
          <a:xfrm>
            <a:off x="1160429" y="3486197"/>
            <a:ext cx="2485288" cy="21949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b="1" sz="1400"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indent="-2286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Font typeface="Arial"/>
              <a:buNone/>
              <a:defRPr/>
            </a:lvl3pPr>
            <a:lvl4pPr indent="-2286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/>
            </a:lvl4pPr>
            <a:lvl5pPr indent="-2286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48" name="Google Shape;48;p25"/>
          <p:cNvSpPr txBox="1"/>
          <p:nvPr>
            <p:ph idx="2" type="body"/>
          </p:nvPr>
        </p:nvSpPr>
        <p:spPr>
          <a:xfrm>
            <a:off x="1160435" y="3277001"/>
            <a:ext cx="2484681" cy="18296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050">
                <a:latin typeface="Arial"/>
                <a:ea typeface="Arial"/>
                <a:cs typeface="Arial"/>
                <a:sym typeface="Arial"/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49" name="Google Shape;49;p25"/>
          <p:cNvSpPr txBox="1"/>
          <p:nvPr>
            <p:ph idx="3" type="body"/>
          </p:nvPr>
        </p:nvSpPr>
        <p:spPr>
          <a:xfrm>
            <a:off x="2524469" y="5454244"/>
            <a:ext cx="1293429" cy="13335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050">
                <a:latin typeface="Arial"/>
                <a:ea typeface="Arial"/>
                <a:cs typeface="Arial"/>
                <a:sym typeface="Arial"/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50" name="Google Shape;50;p25"/>
          <p:cNvSpPr txBox="1"/>
          <p:nvPr>
            <p:ph idx="4" type="body"/>
          </p:nvPr>
        </p:nvSpPr>
        <p:spPr>
          <a:xfrm>
            <a:off x="1159115" y="5932082"/>
            <a:ext cx="2452083" cy="1317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050">
                <a:latin typeface="Arial"/>
                <a:ea typeface="Arial"/>
                <a:cs typeface="Arial"/>
                <a:sym typeface="Arial"/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51" name="Google Shape;51;p25"/>
          <p:cNvSpPr txBox="1"/>
          <p:nvPr>
            <p:ph idx="5" type="body"/>
          </p:nvPr>
        </p:nvSpPr>
        <p:spPr>
          <a:xfrm>
            <a:off x="1161091" y="3704994"/>
            <a:ext cx="2502054" cy="21145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SzPts val="1400"/>
              <a:buNone/>
              <a:defRPr sz="1050"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el, Untertitel und Inhalt">
  <p:cSld name="Titel, Untertitel und Inhalt">
    <p:spTree>
      <p:nvGrpSpPr>
        <p:cNvPr id="52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Google Shape;53;p2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53" name="Google Shape;53;p26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26"/>
          <p:cNvSpPr txBox="1"/>
          <p:nvPr>
            <p:ph type="title"/>
          </p:nvPr>
        </p:nvSpPr>
        <p:spPr>
          <a:xfrm>
            <a:off x="334437" y="81213"/>
            <a:ext cx="10586099" cy="36053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sz="2400">
                <a:solidFill>
                  <a:srgbClr val="0065BD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5" name="Google Shape;55;p26"/>
          <p:cNvSpPr txBox="1"/>
          <p:nvPr>
            <p:ph idx="1" type="body"/>
          </p:nvPr>
        </p:nvSpPr>
        <p:spPr>
          <a:xfrm>
            <a:off x="334434" y="980728"/>
            <a:ext cx="11523133" cy="54006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  <p:sp>
        <p:nvSpPr>
          <p:cNvPr id="56" name="Google Shape;56;p26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7" name="Google Shape;57;p26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8" name="Google Shape;58;p26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" name="Google Shape;59;p26"/>
          <p:cNvSpPr txBox="1"/>
          <p:nvPr>
            <p:ph idx="2" type="body"/>
          </p:nvPr>
        </p:nvSpPr>
        <p:spPr>
          <a:xfrm>
            <a:off x="334434" y="441426"/>
            <a:ext cx="10586102" cy="395287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7F7F7F"/>
                </a:solidFill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</p:spTree>
  </p:cSld>
  <p:clrMapOvr>
    <a:masterClrMapping/>
  </p:clrMapOvr>
  <p:extLst>
    <p:ext uri="{DCECCB84-F9BA-43D5-87BE-67443E8EF086}">
      <p15:sldGuideLst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el, Untertitel">
  <p:cSld name="Titel, Untertitel">
    <p:spTree>
      <p:nvGrpSpPr>
        <p:cNvPr id="60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Google Shape;61;p27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61" name="Google Shape;61;p2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Google Shape;62;p27"/>
          <p:cNvSpPr txBox="1"/>
          <p:nvPr>
            <p:ph type="title"/>
          </p:nvPr>
        </p:nvSpPr>
        <p:spPr>
          <a:xfrm>
            <a:off x="334437" y="81213"/>
            <a:ext cx="10586099" cy="36053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sz="2400">
                <a:solidFill>
                  <a:srgbClr val="0065BD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3" name="Google Shape;63;p27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4" name="Google Shape;64;p27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5" name="Google Shape;65;p27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6" name="Google Shape;66;p27"/>
          <p:cNvSpPr txBox="1"/>
          <p:nvPr>
            <p:ph idx="1" type="body"/>
          </p:nvPr>
        </p:nvSpPr>
        <p:spPr>
          <a:xfrm>
            <a:off x="334434" y="441426"/>
            <a:ext cx="10586102" cy="395287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7F7F7F"/>
                </a:solidFill>
              </a:defRPr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3pPr>
            <a:lvl4pPr indent="-342900" lvl="3" marL="1828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4pPr>
            <a:lvl5pPr indent="-342900" lvl="4" marL="22860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Char char="»"/>
              <a:defRPr/>
            </a:lvl9pPr>
          </a:lstStyle>
          <a:p/>
        </p:txBody>
      </p:sp>
    </p:spTree>
  </p:cSld>
  <p:clrMapOvr>
    <a:masterClrMapping/>
  </p:clrMapOvr>
  <p:extLst>
    <p:ext uri="{DCECCB84-F9BA-43D5-87BE-67443E8EF086}">
      <p15:sldGuideLst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Zwei Inhalte" type="twoObj">
  <p:cSld name="TWO_OBJECTS">
    <p:spTree>
      <p:nvGrpSpPr>
        <p:cNvPr id="67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Google Shape;68;p28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68" name="Google Shape;68;p28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Google Shape;69;p28"/>
          <p:cNvSpPr txBox="1"/>
          <p:nvPr>
            <p:ph type="title"/>
          </p:nvPr>
        </p:nvSpPr>
        <p:spPr>
          <a:xfrm>
            <a:off x="334434" y="44451"/>
            <a:ext cx="10586102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0065BD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0" name="Google Shape;70;p28"/>
          <p:cNvSpPr txBox="1"/>
          <p:nvPr>
            <p:ph idx="1" type="body"/>
          </p:nvPr>
        </p:nvSpPr>
        <p:spPr>
          <a:xfrm>
            <a:off x="334437" y="981076"/>
            <a:ext cx="5659967" cy="54006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 sz="1800"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3pPr>
            <a:lvl4pPr indent="-3302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4pPr>
            <a:lvl5pPr indent="-3302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9pPr>
          </a:lstStyle>
          <a:p/>
        </p:txBody>
      </p:sp>
      <p:sp>
        <p:nvSpPr>
          <p:cNvPr id="71" name="Google Shape;71;p28"/>
          <p:cNvSpPr txBox="1"/>
          <p:nvPr>
            <p:ph idx="2" type="body"/>
          </p:nvPr>
        </p:nvSpPr>
        <p:spPr>
          <a:xfrm>
            <a:off x="6197602" y="981076"/>
            <a:ext cx="5659967" cy="54006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 sz="1800"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3pPr>
            <a:lvl4pPr indent="-3302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4pPr>
            <a:lvl5pPr indent="-3302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5pPr>
            <a:lvl6pPr indent="-342900" lvl="5" marL="2743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6pPr>
            <a:lvl7pPr indent="-342900" lvl="6" marL="3200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7pPr>
            <a:lvl8pPr indent="-342900" lvl="7" marL="3657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8pPr>
            <a:lvl9pPr indent="-342900" lvl="8" marL="41148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»"/>
              <a:defRPr sz="1800"/>
            </a:lvl9pPr>
          </a:lstStyle>
          <a:p/>
        </p:txBody>
      </p:sp>
      <p:sp>
        <p:nvSpPr>
          <p:cNvPr id="72" name="Google Shape;72;p28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3" name="Google Shape;73;p28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4" name="Google Shape;74;p28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Vergleich">
  <p:cSld name="Vergleich">
    <p:spTree>
      <p:nvGrpSpPr>
        <p:cNvPr id="75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Google Shape;76;p29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76" name="Google Shape;76;p2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Google Shape;77;p29"/>
          <p:cNvSpPr txBox="1"/>
          <p:nvPr>
            <p:ph idx="1" type="body"/>
          </p:nvPr>
        </p:nvSpPr>
        <p:spPr>
          <a:xfrm>
            <a:off x="334437" y="981074"/>
            <a:ext cx="5662084" cy="661976"/>
          </a:xfrm>
          <a:prstGeom prst="rect">
            <a:avLst/>
          </a:prstGeom>
          <a:solidFill>
            <a:srgbClr val="4799D9"/>
          </a:solidFill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b="0" sz="2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6pPr>
            <a:lvl7pPr indent="-228600" lvl="6" marL="32004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7pPr>
            <a:lvl8pPr indent="-228600" lvl="7" marL="3657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8pPr>
            <a:lvl9pPr indent="-228600" lvl="8" marL="4114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9pPr>
          </a:lstStyle>
          <a:p/>
        </p:txBody>
      </p:sp>
      <p:sp>
        <p:nvSpPr>
          <p:cNvPr id="78" name="Google Shape;78;p29"/>
          <p:cNvSpPr txBox="1"/>
          <p:nvPr>
            <p:ph idx="2" type="body"/>
          </p:nvPr>
        </p:nvSpPr>
        <p:spPr>
          <a:xfrm>
            <a:off x="334437" y="1643050"/>
            <a:ext cx="5662084" cy="47736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 sz="1800"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3pPr>
            <a:lvl4pPr indent="-3302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4pPr>
            <a:lvl5pPr indent="-3302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5pPr>
            <a:lvl6pPr indent="-330200" lvl="5" marL="2743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6pPr>
            <a:lvl7pPr indent="-330200" lvl="6" marL="32004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7pPr>
            <a:lvl8pPr indent="-330200" lvl="7" marL="3657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8pPr>
            <a:lvl9pPr indent="-330200" lvl="8" marL="4114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9pPr>
          </a:lstStyle>
          <a:p/>
        </p:txBody>
      </p:sp>
      <p:sp>
        <p:nvSpPr>
          <p:cNvPr id="79" name="Google Shape;79;p29"/>
          <p:cNvSpPr txBox="1"/>
          <p:nvPr>
            <p:ph idx="3" type="body"/>
          </p:nvPr>
        </p:nvSpPr>
        <p:spPr>
          <a:xfrm>
            <a:off x="6193367" y="981079"/>
            <a:ext cx="5664200" cy="661975"/>
          </a:xfrm>
          <a:prstGeom prst="rect">
            <a:avLst/>
          </a:prstGeom>
          <a:solidFill>
            <a:srgbClr val="4799D9"/>
          </a:solidFill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b="0" sz="2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6pPr>
            <a:lvl7pPr indent="-228600" lvl="6" marL="32004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7pPr>
            <a:lvl8pPr indent="-228600" lvl="7" marL="3657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8pPr>
            <a:lvl9pPr indent="-228600" lvl="8" marL="4114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b="1" sz="1600"/>
            </a:lvl9pPr>
          </a:lstStyle>
          <a:p/>
        </p:txBody>
      </p:sp>
      <p:sp>
        <p:nvSpPr>
          <p:cNvPr id="80" name="Google Shape;80;p29"/>
          <p:cNvSpPr txBox="1"/>
          <p:nvPr>
            <p:ph idx="4" type="body"/>
          </p:nvPr>
        </p:nvSpPr>
        <p:spPr>
          <a:xfrm>
            <a:off x="6193367" y="1643050"/>
            <a:ext cx="5664200" cy="47736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 sz="1800"/>
            </a:lvl1pPr>
            <a:lvl2pPr indent="-342900" lvl="1" marL="9144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2pPr>
            <a:lvl3pPr indent="-342900" lvl="2" marL="1371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▪"/>
              <a:defRPr sz="1800"/>
            </a:lvl3pPr>
            <a:lvl4pPr indent="-330200" lvl="3" marL="1828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4pPr>
            <a:lvl5pPr indent="-330200" lvl="4" marL="22860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▪"/>
              <a:defRPr sz="1600"/>
            </a:lvl5pPr>
            <a:lvl6pPr indent="-330200" lvl="5" marL="2743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6pPr>
            <a:lvl7pPr indent="-330200" lvl="6" marL="32004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7pPr>
            <a:lvl8pPr indent="-330200" lvl="7" marL="3657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8pPr>
            <a:lvl9pPr indent="-330200" lvl="8" marL="41148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»"/>
              <a:defRPr sz="1600"/>
            </a:lvl9pPr>
          </a:lstStyle>
          <a:p/>
        </p:txBody>
      </p:sp>
      <p:sp>
        <p:nvSpPr>
          <p:cNvPr id="81" name="Google Shape;81;p29"/>
          <p:cNvSpPr txBox="1"/>
          <p:nvPr>
            <p:ph type="title"/>
          </p:nvPr>
        </p:nvSpPr>
        <p:spPr>
          <a:xfrm>
            <a:off x="334437" y="44452"/>
            <a:ext cx="10586099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2" name="Google Shape;82;p29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3" name="Google Shape;83;p29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4" name="Google Shape;84;p29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Nur Titel" type="titleOnly">
  <p:cSld name="TITLE_ONLY">
    <p:spTree>
      <p:nvGrpSpPr>
        <p:cNvPr id="85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Google Shape;86;p30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86" name="Google Shape;86;p30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Google Shape;87;p30"/>
          <p:cNvSpPr txBox="1"/>
          <p:nvPr>
            <p:ph type="title"/>
          </p:nvPr>
        </p:nvSpPr>
        <p:spPr>
          <a:xfrm>
            <a:off x="334434" y="44451"/>
            <a:ext cx="10586102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8" name="Google Shape;88;p30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9" name="Google Shape;89;p30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0" name="Google Shape;90;p30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7.xml"/><Relationship Id="rId10" Type="http://schemas.openxmlformats.org/officeDocument/2006/relationships/slideLayout" Target="../slideLayouts/slideLayout6.xml"/><Relationship Id="rId1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8.xml"/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0.xml"/><Relationship Id="rId17" Type="http://schemas.openxmlformats.org/officeDocument/2006/relationships/vmlDrawing" Target="../drawings/vmlDrawing1.vml"/><Relationship Id="rId16" Type="http://schemas.openxmlformats.org/officeDocument/2006/relationships/theme" Target="../theme/theme1.xml"/><Relationship Id="rId5" Type="http://schemas.openxmlformats.org/officeDocument/2006/relationships/slideLayout" Target="../slideLayouts/slideLayout1.xml"/><Relationship Id="rId6" Type="http://schemas.openxmlformats.org/officeDocument/2006/relationships/slideLayout" Target="../slideLayouts/slideLayout2.xml"/><Relationship Id="rId7" Type="http://schemas.openxmlformats.org/officeDocument/2006/relationships/slideLayout" Target="../slideLayouts/slideLayout3.xml"/><Relationship Id="rId8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2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1" imgH="1588" imgW="1588" progId="TCLayout.ActiveDocument.1" spid="_x0000_s1">
                  <p:embed/>
                </p:oleObj>
              </mc:Choice>
              <mc:Fallback>
                <p:oleObj r:id="rId2" imgH="1588" imgW="1588" progId="TCLayout.ActiveDocument.1">
                  <p:embed/>
                  <p:pic>
                    <p:nvPicPr>
                      <p:cNvPr id="10" name="Google Shape;10;p2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21"/>
          <p:cNvSpPr txBox="1"/>
          <p:nvPr>
            <p:ph type="title"/>
          </p:nvPr>
        </p:nvSpPr>
        <p:spPr>
          <a:xfrm>
            <a:off x="334434" y="44451"/>
            <a:ext cx="10586102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2400" u="none" cap="none" strike="noStrike">
                <a:solidFill>
                  <a:srgbClr val="0065BD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1" i="0" sz="24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12" name="Google Shape;12;p21"/>
          <p:cNvSpPr txBox="1"/>
          <p:nvPr>
            <p:ph idx="1" type="body"/>
          </p:nvPr>
        </p:nvSpPr>
        <p:spPr>
          <a:xfrm>
            <a:off x="334434" y="981076"/>
            <a:ext cx="11523133" cy="54006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42900" lvl="1" marL="9144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Noto Sans Symbols"/>
              <a:buChar char="▪"/>
              <a:defRPr b="0" i="0" sz="18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42900" lvl="2" marL="1371600" marR="0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Noto Sans Symbols"/>
              <a:buChar char="▪"/>
              <a:defRPr b="0" i="0" sz="18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30200" lvl="3" marL="1828800" marR="0" rtl="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Char char="▪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30200" lvl="4" marL="2286000" marR="0" rtl="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Char char="▪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»"/>
              <a:defRPr b="0" i="0" sz="14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»"/>
              <a:defRPr b="0" i="0" sz="14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»"/>
              <a:defRPr b="0" i="0" sz="14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»"/>
              <a:defRPr b="0" i="0" sz="14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3" name="Google Shape;13;p21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14" name="Google Shape;14;p21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/>
        </p:txBody>
      </p:sp>
      <p:sp>
        <p:nvSpPr>
          <p:cNvPr id="15" name="Google Shape;15;p21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>
            <a:lvl1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b="0" i="0" sz="800" u="none" cap="none" strike="noStrik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" name="Google Shape;16;p2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255861" y="398812"/>
            <a:ext cx="606858" cy="32005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5"/>
    <p:sldLayoutId id="2147483650" r:id="rId6"/>
    <p:sldLayoutId id="2147483651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vmlDrawing" Target="../drawings/vmlDrawing12.vml"/><Relationship Id="rId4" Type="http://schemas.openxmlformats.org/officeDocument/2006/relationships/oleObject" Target="../embeddings/oleObject12.bin"/><Relationship Id="rId5" Type="http://schemas.openxmlformats.org/officeDocument/2006/relationships/oleObject" Target="../embeddings/oleObject12.bin"/><Relationship Id="rId6" Type="http://schemas.openxmlformats.org/officeDocument/2006/relationships/image" Target="../media/image3.png"/></Relationships>
</file>

<file path=ppt/slides/_rels/slide1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3.png"/></Relationships>
</file>

<file path=ppt/slides/_rels/slide1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3.png"/><Relationship Id="rId4" Type="http://schemas.openxmlformats.org/officeDocument/2006/relationships/image" Target="../media/image45.png"/><Relationship Id="rId5" Type="http://schemas.openxmlformats.org/officeDocument/2006/relationships/image" Target="../media/image49.png"/></Relationships>
</file>

<file path=ppt/slides/_rels/slide1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3.png"/><Relationship Id="rId4" Type="http://schemas.openxmlformats.org/officeDocument/2006/relationships/image" Target="../media/image47.png"/><Relationship Id="rId5" Type="http://schemas.openxmlformats.org/officeDocument/2006/relationships/image" Target="../media/image50.png"/></Relationships>
</file>

<file path=ppt/slides/_rels/slide1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.png"/><Relationship Id="rId4" Type="http://schemas.openxmlformats.org/officeDocument/2006/relationships/image" Target="../media/image48.png"/><Relationship Id="rId5" Type="http://schemas.openxmlformats.org/officeDocument/2006/relationships/image" Target="../media/image54.png"/><Relationship Id="rId6" Type="http://schemas.openxmlformats.org/officeDocument/2006/relationships/image" Target="../media/image51.png"/><Relationship Id="rId7" Type="http://schemas.openxmlformats.org/officeDocument/2006/relationships/image" Target="../media/image52.png"/></Relationships>
</file>

<file path=ppt/slides/_rels/slide1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3.png"/><Relationship Id="rId4" Type="http://schemas.openxmlformats.org/officeDocument/2006/relationships/image" Target="../media/image46.png"/></Relationships>
</file>

<file path=ppt/slides/_rels/slide1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3.png"/></Relationships>
</file>

<file path=ppt/slides/_rels/slide1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3.png"/></Relationships>
</file>

<file path=ppt/slides/_rels/slide1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53.png"/></Relationships>
</file>

<file path=ppt/slides/_rels/slide1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8.xml"/><Relationship Id="rId3" Type="http://schemas.openxmlformats.org/officeDocument/2006/relationships/vmlDrawing" Target="../drawings/vmlDrawing13.vml"/><Relationship Id="rId4" Type="http://schemas.openxmlformats.org/officeDocument/2006/relationships/oleObject" Target="../embeddings/oleObject13.bin"/><Relationship Id="rId5" Type="http://schemas.openxmlformats.org/officeDocument/2006/relationships/oleObject" Target="../embeddings/oleObject13.bin"/><Relationship Id="rId6" Type="http://schemas.openxmlformats.org/officeDocument/2006/relationships/image" Target="../media/image3.png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.png"/><Relationship Id="rId4" Type="http://schemas.openxmlformats.org/officeDocument/2006/relationships/image" Target="../media/image16.jpg"/><Relationship Id="rId9" Type="http://schemas.openxmlformats.org/officeDocument/2006/relationships/image" Target="../media/image25.png"/><Relationship Id="rId5" Type="http://schemas.openxmlformats.org/officeDocument/2006/relationships/image" Target="../media/image21.jpg"/><Relationship Id="rId6" Type="http://schemas.openxmlformats.org/officeDocument/2006/relationships/image" Target="../media/image14.png"/><Relationship Id="rId7" Type="http://schemas.openxmlformats.org/officeDocument/2006/relationships/image" Target="../media/image17.png"/><Relationship Id="rId8" Type="http://schemas.openxmlformats.org/officeDocument/2006/relationships/image" Target="../media/image10.png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.png"/><Relationship Id="rId4" Type="http://schemas.openxmlformats.org/officeDocument/2006/relationships/image" Target="../media/image11.png"/><Relationship Id="rId5" Type="http://schemas.openxmlformats.org/officeDocument/2006/relationships/image" Target="../media/image19.png"/><Relationship Id="rId6" Type="http://schemas.openxmlformats.org/officeDocument/2006/relationships/image" Target="../media/image15.gif"/></Relationships>
</file>

<file path=ppt/slides/_rels/slide5.xml.rels><?xml version="1.0" encoding="UTF-8" standalone="yes"?><Relationships xmlns="http://schemas.openxmlformats.org/package/2006/relationships"><Relationship Id="rId11" Type="http://schemas.openxmlformats.org/officeDocument/2006/relationships/image" Target="../media/image23.png"/><Relationship Id="rId10" Type="http://schemas.openxmlformats.org/officeDocument/2006/relationships/image" Target="../media/image24.png"/><Relationship Id="rId13" Type="http://schemas.openxmlformats.org/officeDocument/2006/relationships/image" Target="../media/image26.png"/><Relationship Id="rId1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.png"/><Relationship Id="rId4" Type="http://schemas.openxmlformats.org/officeDocument/2006/relationships/image" Target="../media/image12.png"/><Relationship Id="rId9" Type="http://schemas.openxmlformats.org/officeDocument/2006/relationships/image" Target="../media/image22.png"/><Relationship Id="rId15" Type="http://schemas.openxmlformats.org/officeDocument/2006/relationships/image" Target="../media/image32.png"/><Relationship Id="rId14" Type="http://schemas.openxmlformats.org/officeDocument/2006/relationships/image" Target="../media/image31.png"/><Relationship Id="rId17" Type="http://schemas.openxmlformats.org/officeDocument/2006/relationships/image" Target="../media/image30.png"/><Relationship Id="rId16" Type="http://schemas.openxmlformats.org/officeDocument/2006/relationships/image" Target="../media/image44.png"/><Relationship Id="rId5" Type="http://schemas.openxmlformats.org/officeDocument/2006/relationships/image" Target="../media/image13.png"/><Relationship Id="rId6" Type="http://schemas.openxmlformats.org/officeDocument/2006/relationships/image" Target="../media/image18.png"/><Relationship Id="rId7" Type="http://schemas.openxmlformats.org/officeDocument/2006/relationships/image" Target="../media/image20.png"/><Relationship Id="rId8" Type="http://schemas.openxmlformats.org/officeDocument/2006/relationships/image" Target="../media/image9.png"/></Relationships>
</file>

<file path=ppt/slides/_rels/slide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.png"/><Relationship Id="rId4" Type="http://schemas.openxmlformats.org/officeDocument/2006/relationships/image" Target="../media/image33.png"/><Relationship Id="rId5" Type="http://schemas.openxmlformats.org/officeDocument/2006/relationships/image" Target="../media/image35.png"/><Relationship Id="rId6" Type="http://schemas.openxmlformats.org/officeDocument/2006/relationships/image" Target="../media/image28.png"/><Relationship Id="rId7" Type="http://schemas.openxmlformats.org/officeDocument/2006/relationships/image" Target="../media/image34.png"/></Relationships>
</file>

<file path=ppt/slides/_rels/slide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.png"/><Relationship Id="rId4" Type="http://schemas.openxmlformats.org/officeDocument/2006/relationships/image" Target="../media/image37.png"/><Relationship Id="rId5" Type="http://schemas.openxmlformats.org/officeDocument/2006/relationships/image" Target="../media/image13.png"/><Relationship Id="rId6" Type="http://schemas.openxmlformats.org/officeDocument/2006/relationships/image" Target="../media/image41.png"/><Relationship Id="rId7" Type="http://schemas.openxmlformats.org/officeDocument/2006/relationships/image" Target="../media/image43.png"/><Relationship Id="rId8" Type="http://schemas.openxmlformats.org/officeDocument/2006/relationships/image" Target="../media/image29.png"/></Relationships>
</file>

<file path=ppt/slides/_rels/slide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.png"/><Relationship Id="rId4" Type="http://schemas.openxmlformats.org/officeDocument/2006/relationships/image" Target="../media/image36.png"/><Relationship Id="rId5" Type="http://schemas.openxmlformats.org/officeDocument/2006/relationships/image" Target="../media/image38.png"/><Relationship Id="rId6" Type="http://schemas.openxmlformats.org/officeDocument/2006/relationships/image" Target="../media/image13.png"/><Relationship Id="rId7" Type="http://schemas.openxmlformats.org/officeDocument/2006/relationships/image" Target="../media/image42.png"/></Relationships>
</file>

<file path=ppt/slides/_rels/slide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3.png"/><Relationship Id="rId4" Type="http://schemas.openxmlformats.org/officeDocument/2006/relationships/image" Target="../media/image39.png"/><Relationship Id="rId5" Type="http://schemas.openxmlformats.org/officeDocument/2006/relationships/image" Target="../media/image55.png"/><Relationship Id="rId6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2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" name="Google Shape;103;p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103" name="Google Shape;103;p1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Google Shape;104;p1"/>
          <p:cNvSpPr txBox="1"/>
          <p:nvPr>
            <p:ph type="title"/>
          </p:nvPr>
        </p:nvSpPr>
        <p:spPr>
          <a:xfrm>
            <a:off x="431371" y="2615311"/>
            <a:ext cx="11432843" cy="16031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72000" lIns="90000" spcFirstLastPara="1" rIns="90000" wrap="square" tIns="144000">
            <a:spAutoFit/>
          </a:bodyPr>
          <a:lstStyle/>
          <a:p>
            <a:pPr indent="457200" lvl="0" marL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“</a:t>
            </a:r>
            <a:r>
              <a:rPr lang="en-US"/>
              <a:t>Implementation of K-Anonymity for the Use Case of Automotive Industry in Big Data Context.</a:t>
            </a:r>
            <a:r>
              <a:rPr lang="en-US"/>
              <a:t>”</a:t>
            </a:r>
            <a:endParaRPr/>
          </a:p>
        </p:txBody>
      </p:sp>
      <p:sp>
        <p:nvSpPr>
          <p:cNvPr id="105" name="Google Shape;105;p1"/>
          <p:cNvSpPr txBox="1"/>
          <p:nvPr>
            <p:ph idx="1" type="body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18000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600"/>
              <a:buFont typeface="Arial"/>
              <a:buNone/>
            </a:pPr>
            <a:r>
              <a:rPr lang="en-US"/>
              <a:t>Sharada Sowmya, 26.10.2020 – Master Thesis Kick-off Presentation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50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ga481ec144d_0_25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a481ec144d_0_255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Use Case</a:t>
            </a:r>
            <a:endParaRPr/>
          </a:p>
        </p:txBody>
      </p:sp>
      <p:sp>
        <p:nvSpPr>
          <p:cNvPr id="253" name="Google Shape;253;ga481ec144d_0_255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54" name="Google Shape;254;ga481ec144d_0_255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55" name="Google Shape;255;ga481ec144d_0_255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6" name="Google Shape;256;ga481ec144d_0_255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ga481ec144d_0_255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ga481ec144d_0_255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ga481ec144d_0_255"/>
          <p:cNvSpPr txBox="1"/>
          <p:nvPr/>
        </p:nvSpPr>
        <p:spPr>
          <a:xfrm>
            <a:off x="490525" y="849000"/>
            <a:ext cx="10971000" cy="5527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</a:pPr>
            <a:r>
              <a:rPr lang="en-US"/>
              <a:t>Connected Cars generate data. This data can be useage-based data such as mileage or event based data such as automatic service call.</a:t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Having consent of the car owner, this data can be made accessible for corporate third parties.</a:t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Two interesting use cases for third parties were found post interviews conducted at BMW.</a:t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graphicFrame>
        <p:nvGraphicFramePr>
          <p:cNvPr id="260" name="Google Shape;260;ga481ec144d_0_255"/>
          <p:cNvGraphicFramePr/>
          <p:nvPr/>
        </p:nvGraphicFramePr>
        <p:xfrm>
          <a:off x="952500" y="28575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DD43BCF-93D1-48EB-A1A4-A873C16A9872}</a:tableStyleId>
              </a:tblPr>
              <a:tblGrid>
                <a:gridCol w="1458625"/>
                <a:gridCol w="3684875"/>
                <a:gridCol w="2838900"/>
                <a:gridCol w="2304600"/>
              </a:tblGrid>
              <a:tr h="381000"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>
                          <a:solidFill>
                            <a:srgbClr val="FFFFFF"/>
                          </a:solidFill>
                        </a:rPr>
                        <a:t>Use case</a:t>
                      </a:r>
                      <a:endParaRPr b="1">
                        <a:solidFill>
                          <a:srgbClr val="FFFFFF"/>
                        </a:solidFill>
                      </a:endParaRPr>
                    </a:p>
                  </a:txBody>
                  <a:tcPr marT="91425" marB="91425" marR="91425" marL="91425">
                    <a:solidFill>
                      <a:srgbClr val="003359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>
                          <a:solidFill>
                            <a:srgbClr val="FFFFFF"/>
                          </a:solidFill>
                        </a:rPr>
                        <a:t>Focus</a:t>
                      </a:r>
                      <a:endParaRPr b="1">
                        <a:solidFill>
                          <a:srgbClr val="FFFFFF"/>
                        </a:solidFill>
                      </a:endParaRPr>
                    </a:p>
                  </a:txBody>
                  <a:tcPr marT="91425" marB="91425" marR="91425" marL="91425">
                    <a:solidFill>
                      <a:srgbClr val="003359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>
                          <a:solidFill>
                            <a:srgbClr val="FFFFFF"/>
                          </a:solidFill>
                        </a:rPr>
                        <a:t>Threat</a:t>
                      </a:r>
                      <a:endParaRPr b="1">
                        <a:solidFill>
                          <a:srgbClr val="FFFFFF"/>
                        </a:solidFill>
                      </a:endParaRPr>
                    </a:p>
                  </a:txBody>
                  <a:tcPr marT="91425" marB="91425" marR="91425" marL="91425">
                    <a:solidFill>
                      <a:srgbClr val="003359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>
                          <a:solidFill>
                            <a:srgbClr val="FFFFFF"/>
                          </a:solidFill>
                        </a:rPr>
                        <a:t>Attributes used from dataset</a:t>
                      </a:r>
                      <a:endParaRPr b="1">
                        <a:solidFill>
                          <a:srgbClr val="FFFFFF"/>
                        </a:solidFill>
                      </a:endParaRPr>
                    </a:p>
                  </a:txBody>
                  <a:tcPr marT="91425" marB="91425" marR="91425" marL="91425">
                    <a:solidFill>
                      <a:srgbClr val="003359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/>
                        <a:t>Advertisement</a:t>
                      </a:r>
                      <a:endParaRPr b="1"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Smart placement of billboards based on drivers driving patterns like frequent traversed location and more stoppage time.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The most traversed path is extracted from dataset without revealing location or identity of car/driver.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car_id, isc_timestamp, gps_lat, gps_long, car_type, car_model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/>
                        <a:t>Smart charging stations</a:t>
                      </a:r>
                      <a:endParaRPr b="1"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Smart placement of charging stations based on drivers driving patterns like the most frequent places where the car is likely to run out of charge.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The optimal location of the smart charging station is derived without revealing the location or identity of the car/driver.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car_id, isc_timestamp, gps_lat, gps_long, charging_method, smart_charging_status,  remaining_charging_time, fuel_percentage</a:t>
                      </a:r>
                      <a:endParaRPr/>
                    </a:p>
                  </a:txBody>
                  <a:tcPr marT="91425" marB="91425" marR="91425" marL="91425">
                    <a:solidFill>
                      <a:srgbClr val="C4DCF2"/>
                    </a:solidFill>
                  </a:tcPr>
                </a:tc>
              </a:tr>
            </a:tbl>
          </a:graphicData>
        </a:graphic>
      </p:graphicFrame>
      <p:sp>
        <p:nvSpPr>
          <p:cNvPr id="261" name="Google Shape;261;ga481ec144d_0_255"/>
          <p:cNvSpPr txBox="1"/>
          <p:nvPr/>
        </p:nvSpPr>
        <p:spPr>
          <a:xfrm>
            <a:off x="870000" y="1820700"/>
            <a:ext cx="10452000" cy="4527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62" name="Google Shape;262;ga481ec144d_0_255"/>
          <p:cNvSpPr txBox="1"/>
          <p:nvPr/>
        </p:nvSpPr>
        <p:spPr>
          <a:xfrm>
            <a:off x="641475" y="1443300"/>
            <a:ext cx="7886100" cy="3774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66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7" name="Google Shape;267;ga481ec144d_0_15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68" name="Google Shape;268;ga481ec144d_0_157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Data-flow diagram(DFD) of the connected car use case</a:t>
            </a:r>
            <a:endParaRPr/>
          </a:p>
        </p:txBody>
      </p:sp>
      <p:sp>
        <p:nvSpPr>
          <p:cNvPr id="269" name="Google Shape;269;ga481ec144d_0_157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70" name="Google Shape;270;ga481ec144d_0_157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71" name="Google Shape;271;ga481ec144d_0_157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2" name="Google Shape;272;ga481ec144d_0_157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ga481ec144d_0_157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ga481ec144d_0_157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a481ec144d_0_157"/>
          <p:cNvSpPr txBox="1"/>
          <p:nvPr/>
        </p:nvSpPr>
        <p:spPr>
          <a:xfrm>
            <a:off x="452775" y="1088527"/>
            <a:ext cx="10971000" cy="5449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76" name="Google Shape;276;ga481ec144d_0_15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570900" y="1807388"/>
            <a:ext cx="1733550" cy="3743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7" name="Google Shape;277;ga481ec144d_0_15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389050" y="1309513"/>
            <a:ext cx="4705350" cy="45815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8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" name="Google Shape;282;ga481ec144d_0_18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83" name="Google Shape;283;ga481ec144d_0_185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Privacy threat modelling of the DFD - LINDDUN methodology</a:t>
            </a:r>
            <a:endParaRPr/>
          </a:p>
        </p:txBody>
      </p:sp>
      <p:sp>
        <p:nvSpPr>
          <p:cNvPr id="284" name="Google Shape;284;ga481ec144d_0_185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85" name="Google Shape;285;ga481ec144d_0_185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86" name="Google Shape;286;ga481ec144d_0_185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7" name="Google Shape;287;ga481ec144d_0_185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8" name="Google Shape;288;ga481ec144d_0_185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ga481ec144d_0_185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ga481ec144d_0_185"/>
          <p:cNvSpPr txBox="1"/>
          <p:nvPr/>
        </p:nvSpPr>
        <p:spPr>
          <a:xfrm>
            <a:off x="452775" y="1088527"/>
            <a:ext cx="10971000" cy="5449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1" name="Google Shape;291;ga481ec144d_0_18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3550" y="1235100"/>
            <a:ext cx="4629150" cy="4886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2" name="Google Shape;292;ga481ec144d_0_18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69500" y="1388288"/>
            <a:ext cx="4705350" cy="45815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96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Google Shape;297;ga481ec144d_0_22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98" name="Google Shape;298;ga481ec144d_0_226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/>
              <a:t>Privacy threat modelling of the DFD</a:t>
            </a:r>
            <a:endParaRPr/>
          </a:p>
        </p:txBody>
      </p:sp>
      <p:sp>
        <p:nvSpPr>
          <p:cNvPr id="299" name="Google Shape;299;ga481ec144d_0_226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300" name="Google Shape;300;ga481ec144d_0_226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301" name="Google Shape;301;ga481ec144d_0_226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2" name="Google Shape;302;ga481ec144d_0_226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ga481ec144d_0_226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ga481ec144d_0_226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5" name="Google Shape;305;ga481ec144d_0_226"/>
          <p:cNvSpPr txBox="1"/>
          <p:nvPr/>
        </p:nvSpPr>
        <p:spPr>
          <a:xfrm>
            <a:off x="332900" y="981075"/>
            <a:ext cx="11032200" cy="56961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6" name="Google Shape;306;ga481ec144d_0_2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96175" y="941600"/>
            <a:ext cx="8162925" cy="427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" name="Google Shape;307;ga481ec144d_0_2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015237" y="1859800"/>
            <a:ext cx="968188" cy="456692"/>
          </a:xfrm>
          <a:prstGeom prst="rect">
            <a:avLst/>
          </a:prstGeom>
          <a:noFill/>
          <a:ln>
            <a:noFill/>
          </a:ln>
        </p:spPr>
      </p:pic>
      <p:pic>
        <p:nvPicPr>
          <p:cNvPr id="308" name="Google Shape;308;ga481ec144d_0_22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33550" y="5540375"/>
            <a:ext cx="463425" cy="481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Google Shape;309;ga481ec144d_0_226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36663" y="6105838"/>
            <a:ext cx="457200" cy="447675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ga481ec144d_0_226"/>
          <p:cNvSpPr txBox="1"/>
          <p:nvPr/>
        </p:nvSpPr>
        <p:spPr>
          <a:xfrm>
            <a:off x="1160300" y="5603375"/>
            <a:ext cx="6509100" cy="3501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rivacy threat mitigation through de-identification is possible. </a:t>
            </a:r>
            <a:endParaRPr/>
          </a:p>
        </p:txBody>
      </p:sp>
      <p:sp>
        <p:nvSpPr>
          <p:cNvPr id="311" name="Google Shape;311;ga481ec144d_0_226"/>
          <p:cNvSpPr txBox="1"/>
          <p:nvPr/>
        </p:nvSpPr>
        <p:spPr>
          <a:xfrm>
            <a:off x="1223088" y="6154625"/>
            <a:ext cx="6509100" cy="3501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rivacy threat mitigation through de-identification is not possible. </a:t>
            </a:r>
            <a:endParaRPr/>
          </a:p>
        </p:txBody>
      </p:sp>
      <p:sp>
        <p:nvSpPr>
          <p:cNvPr id="312" name="Google Shape;312;ga481ec144d_0_226"/>
          <p:cNvSpPr txBox="1"/>
          <p:nvPr/>
        </p:nvSpPr>
        <p:spPr>
          <a:xfrm>
            <a:off x="8810875" y="1088525"/>
            <a:ext cx="2556300" cy="25434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en-US">
                <a:solidFill>
                  <a:schemeClr val="dk1"/>
                </a:solidFill>
              </a:rPr>
              <a:t>L</a:t>
            </a:r>
            <a:r>
              <a:rPr lang="en-US">
                <a:solidFill>
                  <a:schemeClr val="dk1"/>
                </a:solidFill>
              </a:rPr>
              <a:t>inkability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en-US">
                <a:solidFill>
                  <a:schemeClr val="dk1"/>
                </a:solidFill>
              </a:rPr>
              <a:t>I</a:t>
            </a:r>
            <a:r>
              <a:rPr lang="en-US">
                <a:solidFill>
                  <a:schemeClr val="dk1"/>
                </a:solidFill>
              </a:rPr>
              <a:t>dentifiability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en-US">
                <a:solidFill>
                  <a:schemeClr val="dk1"/>
                </a:solidFill>
              </a:rPr>
              <a:t>N</a:t>
            </a:r>
            <a:r>
              <a:rPr lang="en-US">
                <a:solidFill>
                  <a:schemeClr val="dk1"/>
                </a:solidFill>
              </a:rPr>
              <a:t>on-repudiation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en-US">
                <a:solidFill>
                  <a:schemeClr val="dk1"/>
                </a:solidFill>
              </a:rPr>
              <a:t>D</a:t>
            </a:r>
            <a:r>
              <a:rPr lang="en-US">
                <a:solidFill>
                  <a:schemeClr val="dk1"/>
                </a:solidFill>
              </a:rPr>
              <a:t>etectability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1"/>
                </a:solidFill>
              </a:rPr>
              <a:t>Information </a:t>
            </a:r>
            <a:r>
              <a:rPr b="1" lang="en-US">
                <a:solidFill>
                  <a:schemeClr val="dk1"/>
                </a:solidFill>
              </a:rPr>
              <a:t>D</a:t>
            </a:r>
            <a:r>
              <a:rPr lang="en-US">
                <a:solidFill>
                  <a:schemeClr val="dk1"/>
                </a:solidFill>
              </a:rPr>
              <a:t>isclosure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1"/>
                </a:solidFill>
              </a:rPr>
              <a:t>Content </a:t>
            </a:r>
            <a:r>
              <a:rPr b="1" lang="en-US">
                <a:solidFill>
                  <a:schemeClr val="dk1"/>
                </a:solidFill>
              </a:rPr>
              <a:t>U</a:t>
            </a:r>
            <a:r>
              <a:rPr lang="en-US">
                <a:solidFill>
                  <a:schemeClr val="dk1"/>
                </a:solidFill>
              </a:rPr>
              <a:t>nawareness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en-US">
                <a:solidFill>
                  <a:schemeClr val="dk1"/>
                </a:solidFill>
              </a:rPr>
              <a:t>N</a:t>
            </a:r>
            <a:r>
              <a:rPr lang="en-US">
                <a:solidFill>
                  <a:schemeClr val="dk1"/>
                </a:solidFill>
              </a:rPr>
              <a:t>on-compliance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16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Google Shape;317;g8e7506b2d6_0_28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18" name="Google Shape;318;g8e7506b2d6_0_28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Software architecture diagram - First version</a:t>
            </a:r>
            <a:endParaRPr/>
          </a:p>
        </p:txBody>
      </p:sp>
      <p:sp>
        <p:nvSpPr>
          <p:cNvPr id="319" name="Google Shape;319;g8e7506b2d6_0_28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320" name="Google Shape;320;g8e7506b2d6_0_28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321" name="Google Shape;321;g8e7506b2d6_0_28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2" name="Google Shape;322;g8e7506b2d6_0_28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3" name="Google Shape;323;g8e7506b2d6_0_28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4" name="Google Shape;324;g8e7506b2d6_0_28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g8e7506b2d6_0_28"/>
          <p:cNvSpPr txBox="1"/>
          <p:nvPr/>
        </p:nvSpPr>
        <p:spPr>
          <a:xfrm>
            <a:off x="490525" y="1047075"/>
            <a:ext cx="5820300" cy="367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lang="en-US"/>
              <a:t>F</a:t>
            </a:r>
            <a:r>
              <a:rPr b="1" i="0" lang="en-US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amework for a distributed privacy model pipeline.</a:t>
            </a:r>
            <a:endParaRPr b="1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6" name="Google Shape;326;g8e7506b2d6_0_28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490525" y="1520100"/>
            <a:ext cx="7213674" cy="4849402"/>
          </a:xfrm>
          <a:prstGeom prst="rect">
            <a:avLst/>
          </a:prstGeom>
          <a:noFill/>
          <a:ln>
            <a:noFill/>
          </a:ln>
        </p:spPr>
      </p:pic>
      <p:sp>
        <p:nvSpPr>
          <p:cNvPr id="327" name="Google Shape;327;g8e7506b2d6_0_28"/>
          <p:cNvSpPr txBox="1"/>
          <p:nvPr/>
        </p:nvSpPr>
        <p:spPr>
          <a:xfrm>
            <a:off x="7631500" y="1674475"/>
            <a:ext cx="4131900" cy="48891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i="0" lang="en-US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b="0" i="0" lang="en-US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ta Importer is an EC2 instance which will fetch the data from an external API.</a:t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backed up into S3.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mporter will send a message to queue on SQS once data backup is complete.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ep 4: </a:t>
            </a: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Transformer is an EC2/EMR instance which listens to the queue and starts de-identification process.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-identification process includes partitioning of the dataset and applying de-identification methods in a distributed manner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ing AWS Data pipeline.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ep:6: </a:t>
            </a: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oring anonymized data into Postgres database is the last stage of the data pipeline.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3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2" name="Google Shape;332;g97f541309a_0_1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33" name="Google Shape;333;g97f541309a_0_15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Test dataset for applying de-identification methods</a:t>
            </a:r>
            <a:endParaRPr/>
          </a:p>
        </p:txBody>
      </p:sp>
      <p:sp>
        <p:nvSpPr>
          <p:cNvPr id="334" name="Google Shape;334;g97f541309a_0_15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335" name="Google Shape;335;g97f541309a_0_15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336" name="Google Shape;336;g97f541309a_0_15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7" name="Google Shape;337;g97f541309a_0_15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38" name="Google Shape;338;g97f541309a_0_15"/>
          <p:cNvGraphicFramePr/>
          <p:nvPr/>
        </p:nvGraphicFramePr>
        <p:xfrm>
          <a:off x="1250150" y="916225"/>
          <a:ext cx="3000000" cy="3000000"/>
        </p:xfrm>
        <a:graphic>
          <a:graphicData uri="http://schemas.openxmlformats.org/drawingml/2006/table">
            <a:tbl>
              <a:tblPr>
                <a:noFill/>
                <a:tableStyleId>{3348B197-56B8-4D6E-A94A-5D7A3F61D175}</a:tableStyleId>
              </a:tblPr>
              <a:tblGrid>
                <a:gridCol w="2123175"/>
                <a:gridCol w="2633150"/>
                <a:gridCol w="1552900"/>
                <a:gridCol w="2093025"/>
              </a:tblGrid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b="1" lang="en-US" sz="1400" u="none" cap="none" strike="noStrike"/>
                        <a:t>Attribute Name</a:t>
                      </a:r>
                      <a:endParaRPr b="1"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b="1" lang="en-US" sz="1400" u="none" cap="none" strike="noStrike"/>
                        <a:t>Attribute </a:t>
                      </a:r>
                      <a:r>
                        <a:rPr b="1" lang="en-US" sz="1400" u="none" cap="none" strike="noStrike">
                          <a:solidFill>
                            <a:schemeClr val="dk1"/>
                          </a:solidFill>
                        </a:rPr>
                        <a:t>value</a:t>
                      </a:r>
                      <a:endParaRPr b="1"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b="1" lang="en-US" sz="1400" u="none" cap="none" strike="noStrike"/>
                        <a:t>Attribute unit</a:t>
                      </a:r>
                      <a:endParaRPr b="1"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b="1" lang="en-US" sz="1400" u="none" cap="none" strike="noStrike"/>
                        <a:t>Attribute type(in postgres)</a:t>
                      </a:r>
                      <a:endParaRPr b="1"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ar_id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80248072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IN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ar_model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X1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HAR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harging_method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AC_TYPE1PLUG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VARCHAR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charging_status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HARGING_ACTIVE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HAR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smart_charging_status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RENEWABLE_OPTIMIZED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CHAR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remaining_charging_time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1300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mi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IN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fuel_percentage</a:t>
                      </a:r>
                      <a:endParaRPr sz="1400" u="none" cap="none" strike="noStrike">
                        <a:solidFill>
                          <a:schemeClr val="dk1"/>
                        </a:solidFill>
                      </a:endParaRPr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72.5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FLOA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mileage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224000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km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IN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isc_timestamp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02.06.201908:30:00UTC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NaN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TIMESTAMP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gps_la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43.257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WGS84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FLOAT/GEOGRAPHY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962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gps_long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110.234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WGS84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FLOAT/GEOGRAPHY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  <a:tr h="381000"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400" u="none" cap="none" strike="noStrike">
                          <a:solidFill>
                            <a:schemeClr val="dk1"/>
                          </a:solidFill>
                        </a:rPr>
                        <a:t>temperature_external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16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degreescelsius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  <a:tc>
                  <a:txBody>
                    <a:bodyPr/>
                    <a:lstStyle/>
                    <a:p>
                      <a:pPr indent="0" lvl="0" marL="0" marR="0" rt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u="none" cap="none" strike="noStrike"/>
                        <a:t>INT</a:t>
                      </a:r>
                      <a:endParaRPr sz="1400" u="none" cap="none" strike="noStrike"/>
                    </a:p>
                  </a:txBody>
                  <a:tcPr marT="91425" marB="91425" marR="91425" marL="91425"/>
                </a:tc>
              </a:tr>
            </a:tbl>
          </a:graphicData>
        </a:graphic>
      </p:graphicFrame>
      <p:sp>
        <p:nvSpPr>
          <p:cNvPr id="339" name="Google Shape;339;g97f541309a_0_15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g97f541309a_0_15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44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" name="Google Shape;345;g97f541309a_0_3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346" name="Google Shape;346;g97f541309a_0_35"/>
          <p:cNvSpPr txBox="1"/>
          <p:nvPr>
            <p:ph type="title"/>
          </p:nvPr>
        </p:nvSpPr>
        <p:spPr>
          <a:xfrm>
            <a:off x="332912" y="66877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Next steps</a:t>
            </a:r>
            <a:endParaRPr/>
          </a:p>
        </p:txBody>
      </p:sp>
      <p:sp>
        <p:nvSpPr>
          <p:cNvPr id="347" name="Google Shape;347;g97f541309a_0_35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348" name="Google Shape;348;g97f541309a_0_35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349" name="Google Shape;349;g97f541309a_0_35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0" name="Google Shape;350;g97f541309a_0_35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1" name="Google Shape;351;g97f541309a_0_35"/>
          <p:cNvSpPr txBox="1"/>
          <p:nvPr/>
        </p:nvSpPr>
        <p:spPr>
          <a:xfrm>
            <a:off x="9087309" y="61058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2" name="Google Shape;352;g97f541309a_0_35"/>
          <p:cNvSpPr txBox="1"/>
          <p:nvPr/>
        </p:nvSpPr>
        <p:spPr>
          <a:xfrm>
            <a:off x="9239709" y="62582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g97f541309a_0_35"/>
          <p:cNvSpPr txBox="1"/>
          <p:nvPr/>
        </p:nvSpPr>
        <p:spPr>
          <a:xfrm>
            <a:off x="490525" y="1084825"/>
            <a:ext cx="10971000" cy="48687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lang="en-US"/>
              <a:t>Literature review</a:t>
            </a:r>
            <a:endParaRPr b="1"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Distributed pipeline for big data architecture.</a:t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b="1" lang="en-US"/>
              <a:t>Design System Architecture</a:t>
            </a:r>
            <a:endParaRPr b="1"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Setup interviews with BMW and Rohde and Schwarz to design the system architecture.</a:t>
            </a:r>
            <a:endParaRPr/>
          </a:p>
          <a:p>
            <a:pPr indent="0" lvl="0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Evaluate the technology stack feasible with design architecture.</a:t>
            </a:r>
            <a:endParaRPr/>
          </a:p>
          <a:p>
            <a:pPr indent="0" lvl="0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Get access to all platforms required to implement the finalized system architecture.</a:t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t/>
            </a:r>
            <a:endParaRPr b="1" i="0" sz="14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>
                <a:solidFill>
                  <a:schemeClr val="dk1"/>
                </a:solidFill>
              </a:rPr>
              <a:t>POC implementation and Evaluation</a:t>
            </a:r>
            <a:endParaRPr b="1">
              <a:solidFill>
                <a:schemeClr val="dk1"/>
              </a:solidFill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>
              <a:solidFill>
                <a:schemeClr val="dk1"/>
              </a:solidFill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➔"/>
            </a:pPr>
            <a:r>
              <a:rPr lang="en-US">
                <a:solidFill>
                  <a:schemeClr val="dk1"/>
                </a:solidFill>
              </a:rPr>
              <a:t>Evaluated the privacy based on existing approaches.</a:t>
            </a:r>
            <a:endParaRPr>
              <a:solidFill>
                <a:schemeClr val="dk1"/>
              </a:solidFill>
            </a:endParaRPr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➔"/>
            </a:pPr>
            <a:r>
              <a:rPr lang="en-US">
                <a:solidFill>
                  <a:schemeClr val="dk1"/>
                </a:solidFill>
              </a:rPr>
              <a:t>Identify ways to measure utility of data.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1">
              <a:solidFill>
                <a:schemeClr val="dk1"/>
              </a:solidFill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58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g9b00a01923_0_0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Timeline</a:t>
            </a:r>
            <a:endParaRPr/>
          </a:p>
        </p:txBody>
      </p:sp>
      <p:sp>
        <p:nvSpPr>
          <p:cNvPr id="360" name="Google Shape;360;g9b00a01923_0_0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361" name="Google Shape;361;g9b00a01923_0_0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362" name="Google Shape;362;g9b00a01923_0_0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63" name="Google Shape;363;g9b00a01923_0_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23850" y="1400177"/>
            <a:ext cx="11344275" cy="4533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68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9" name="Google Shape;369;p20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369" name="Google Shape;369;p20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" name="Google Shape;370;p20"/>
          <p:cNvSpPr txBox="1"/>
          <p:nvPr>
            <p:ph idx="1" type="body"/>
          </p:nvPr>
        </p:nvSpPr>
        <p:spPr>
          <a:xfrm>
            <a:off x="1160429" y="3486197"/>
            <a:ext cx="2485200" cy="219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/>
              <a:t>Sharada Sowmya</a:t>
            </a:r>
            <a:endParaRPr/>
          </a:p>
        </p:txBody>
      </p:sp>
      <p:sp>
        <p:nvSpPr>
          <p:cNvPr id="371" name="Google Shape;371;p20"/>
          <p:cNvSpPr txBox="1"/>
          <p:nvPr>
            <p:ph idx="2" type="body"/>
          </p:nvPr>
        </p:nvSpPr>
        <p:spPr>
          <a:xfrm>
            <a:off x="1160435" y="3277001"/>
            <a:ext cx="2484600" cy="183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/>
              <a:t> 	</a:t>
            </a:r>
            <a:endParaRPr/>
          </a:p>
        </p:txBody>
      </p:sp>
      <p:sp>
        <p:nvSpPr>
          <p:cNvPr id="372" name="Google Shape;372;p20"/>
          <p:cNvSpPr txBox="1"/>
          <p:nvPr>
            <p:ph idx="3" type="body"/>
          </p:nvPr>
        </p:nvSpPr>
        <p:spPr>
          <a:xfrm>
            <a:off x="2524469" y="5454244"/>
            <a:ext cx="1293300" cy="1332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/>
              <a:t>17132</a:t>
            </a:r>
            <a:endParaRPr/>
          </a:p>
        </p:txBody>
      </p:sp>
      <p:sp>
        <p:nvSpPr>
          <p:cNvPr id="373" name="Google Shape;373;p20"/>
          <p:cNvSpPr txBox="1"/>
          <p:nvPr>
            <p:ph idx="4" type="body"/>
          </p:nvPr>
        </p:nvSpPr>
        <p:spPr>
          <a:xfrm>
            <a:off x="1159115" y="5932082"/>
            <a:ext cx="2452200" cy="1317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/>
              <a:t>matthes@in.tum.de</a:t>
            </a:r>
            <a:endParaRPr/>
          </a:p>
        </p:txBody>
      </p:sp>
      <p:sp>
        <p:nvSpPr>
          <p:cNvPr id="374" name="Google Shape;374;p20"/>
          <p:cNvSpPr txBox="1"/>
          <p:nvPr>
            <p:ph idx="5" type="body"/>
          </p:nvPr>
        </p:nvSpPr>
        <p:spPr>
          <a:xfrm>
            <a:off x="1161091" y="3704994"/>
            <a:ext cx="2502000" cy="211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-1587" lvl="0" marL="1587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 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0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"/>
          <p:cNvSpPr txBox="1"/>
          <p:nvPr>
            <p:ph idx="1" type="body"/>
          </p:nvPr>
        </p:nvSpPr>
        <p:spPr>
          <a:xfrm>
            <a:off x="334435" y="981076"/>
            <a:ext cx="11523135" cy="54006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/>
          <a:p>
            <a:pPr indent="0" lvl="0" marL="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1)Motivation and Problem </a:t>
            </a:r>
            <a:r>
              <a:rPr lang="en-US"/>
              <a:t>Statement</a:t>
            </a:r>
            <a:endParaRPr/>
          </a:p>
          <a:p>
            <a:pPr indent="0" lvl="0" marL="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2"/>
                </a:solidFill>
              </a:rPr>
              <a:t>2</a:t>
            </a:r>
            <a:r>
              <a:rPr lang="en-US">
                <a:solidFill>
                  <a:schemeClr val="dk2"/>
                </a:solidFill>
              </a:rPr>
              <a:t>)</a:t>
            </a:r>
            <a:r>
              <a:rPr lang="en-US"/>
              <a:t>Proposal</a:t>
            </a:r>
            <a:r>
              <a:rPr lang="en-US"/>
              <a:t> </a:t>
            </a:r>
            <a:endParaRPr/>
          </a:p>
          <a:p>
            <a:pPr indent="0" lvl="0" marL="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SzPts val="1100"/>
              <a:buNone/>
            </a:pPr>
            <a:r>
              <a:rPr lang="en-US">
                <a:solidFill>
                  <a:schemeClr val="dk2"/>
                </a:solidFill>
              </a:rPr>
              <a:t>3</a:t>
            </a:r>
            <a:r>
              <a:rPr lang="en-US">
                <a:solidFill>
                  <a:schemeClr val="dk2"/>
                </a:solidFill>
              </a:rPr>
              <a:t>)Research questions and Approach </a:t>
            </a:r>
            <a:endParaRPr>
              <a:solidFill>
                <a:schemeClr val="dk2"/>
              </a:solidFill>
            </a:endParaRPr>
          </a:p>
          <a:p>
            <a:pPr indent="0" lvl="0" marL="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2"/>
                </a:solidFill>
              </a:rPr>
              <a:t>4) Current Results</a:t>
            </a:r>
            <a:endParaRPr>
              <a:solidFill>
                <a:schemeClr val="dk2"/>
              </a:solidFill>
            </a:endParaRPr>
          </a:p>
          <a:p>
            <a:pPr indent="-317500" lvl="0" marL="91440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AutoNum type="arabicParenR"/>
            </a:pPr>
            <a:r>
              <a:rPr lang="en-US">
                <a:solidFill>
                  <a:schemeClr val="dk2"/>
                </a:solidFill>
              </a:rPr>
              <a:t>Existing techniques of k-anonymity Methods</a:t>
            </a:r>
            <a:endParaRPr>
              <a:solidFill>
                <a:schemeClr val="dk2"/>
              </a:solidFill>
            </a:endParaRPr>
          </a:p>
          <a:p>
            <a:pPr indent="-317500" lvl="0" marL="914400" rtl="0" algn="l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AutoNum type="arabicParenR"/>
            </a:pPr>
            <a:r>
              <a:rPr lang="en-US">
                <a:solidFill>
                  <a:schemeClr val="dk2"/>
                </a:solidFill>
              </a:rPr>
              <a:t>Use Case - Deep Dive</a:t>
            </a:r>
            <a:endParaRPr>
              <a:solidFill>
                <a:schemeClr val="dk2"/>
              </a:solidFill>
            </a:endParaRPr>
          </a:p>
          <a:p>
            <a:pPr indent="-317500" lvl="0" marL="914400" rtl="0" algn="l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AutoNum type="arabicParenR"/>
            </a:pPr>
            <a:r>
              <a:rPr lang="en-US">
                <a:solidFill>
                  <a:schemeClr val="dk2"/>
                </a:solidFill>
              </a:rPr>
              <a:t>Software architecture diagram - First version</a:t>
            </a:r>
            <a:endParaRPr>
              <a:solidFill>
                <a:schemeClr val="dk2"/>
              </a:solidFill>
            </a:endParaRPr>
          </a:p>
          <a:p>
            <a:pPr indent="0" lvl="0" marL="0" rtl="0" algn="l">
              <a:lnSpc>
                <a:spcPct val="2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2"/>
                </a:solidFill>
              </a:rPr>
              <a:t>5) Timeline and Next Steps</a:t>
            </a:r>
            <a:endParaRPr>
              <a:solidFill>
                <a:schemeClr val="dk2"/>
              </a:solidFill>
            </a:endParaRPr>
          </a:p>
          <a:p>
            <a:pPr indent="0" lvl="1" marL="98425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</a:pPr>
            <a:br>
              <a:rPr lang="en-US"/>
            </a:br>
            <a:endParaRPr/>
          </a:p>
          <a:p>
            <a:pPr indent="-146050" lvl="1" marL="358775" rtl="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</a:pPr>
            <a:r>
              <a:t/>
            </a:r>
            <a:endParaRPr/>
          </a:p>
        </p:txBody>
      </p:sp>
      <p:sp>
        <p:nvSpPr>
          <p:cNvPr id="112" name="Google Shape;112;p2"/>
          <p:cNvSpPr txBox="1"/>
          <p:nvPr>
            <p:ph type="title"/>
          </p:nvPr>
        </p:nvSpPr>
        <p:spPr>
          <a:xfrm>
            <a:off x="334437" y="44452"/>
            <a:ext cx="10586099" cy="720725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Outline</a:t>
            </a:r>
            <a:endParaRPr/>
          </a:p>
        </p:txBody>
      </p:sp>
      <p:sp>
        <p:nvSpPr>
          <p:cNvPr id="113" name="Google Shape;113;p2"/>
          <p:cNvSpPr txBox="1"/>
          <p:nvPr>
            <p:ph idx="10" type="dt"/>
          </p:nvPr>
        </p:nvSpPr>
        <p:spPr>
          <a:xfrm>
            <a:off x="9383184" y="6570616"/>
            <a:ext cx="21420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114" name="Google Shape;114;p2"/>
          <p:cNvSpPr txBox="1"/>
          <p:nvPr>
            <p:ph idx="11" type="ftr"/>
          </p:nvPr>
        </p:nvSpPr>
        <p:spPr>
          <a:xfrm>
            <a:off x="332903" y="6569076"/>
            <a:ext cx="5761567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115" name="Google Shape;115;p2"/>
          <p:cNvSpPr txBox="1"/>
          <p:nvPr>
            <p:ph idx="12" type="sldNum"/>
          </p:nvPr>
        </p:nvSpPr>
        <p:spPr>
          <a:xfrm>
            <a:off x="11525251" y="6570616"/>
            <a:ext cx="332316" cy="2889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9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Google Shape;120;ga481ec144d_0_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Google Shape;121;ga481ec144d_0_0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otivation and Problem Statement</a:t>
            </a:r>
            <a:endParaRPr/>
          </a:p>
        </p:txBody>
      </p:sp>
      <p:sp>
        <p:nvSpPr>
          <p:cNvPr id="122" name="Google Shape;122;ga481ec144d_0_0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123" name="Google Shape;123;ga481ec144d_0_0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124" name="Google Shape;124;ga481ec144d_0_0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" name="Google Shape;125;ga481ec144d_0_0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6" name="Google Shape;126;ga481ec144d_0_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69850" y="3525977"/>
            <a:ext cx="1905000" cy="1905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ga481ec144d_0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141000" y="2356050"/>
            <a:ext cx="4278300" cy="2395850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ga481ec144d_0_0"/>
          <p:cNvSpPr txBox="1"/>
          <p:nvPr/>
        </p:nvSpPr>
        <p:spPr>
          <a:xfrm>
            <a:off x="2333950" y="933950"/>
            <a:ext cx="4547700" cy="2467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>
                <a:solidFill>
                  <a:srgbClr val="333333"/>
                </a:solidFill>
                <a:highlight>
                  <a:srgbClr val="FFFFFF"/>
                </a:highlight>
              </a:rPr>
              <a:t>Connected Car is a vehicle that is equipped with Internet access which enables the vehicle to share the internet connection with other devices.</a:t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400"/>
              <a:buChar char="●"/>
            </a:pPr>
            <a:r>
              <a:rPr lang="en-US">
                <a:solidFill>
                  <a:srgbClr val="333333"/>
                </a:solidFill>
                <a:highlight>
                  <a:srgbClr val="FFFFFF"/>
                </a:highlight>
              </a:rPr>
              <a:t>According to recent survey, these connected Cars generate upto 25GB of data per hour.</a:t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400"/>
              <a:buChar char="●"/>
            </a:pPr>
            <a:r>
              <a:rPr lang="en-US">
                <a:solidFill>
                  <a:srgbClr val="333333"/>
                </a:solidFill>
                <a:highlight>
                  <a:srgbClr val="FFFFFF"/>
                </a:highlight>
              </a:rPr>
              <a:t>Collected data includes driver and passenger data, driving behavior, biometric, health, location and communication data.</a:t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</p:txBody>
      </p:sp>
      <p:sp>
        <p:nvSpPr>
          <p:cNvPr id="129" name="Google Shape;129;ga481ec144d_0_0"/>
          <p:cNvSpPr txBox="1"/>
          <p:nvPr/>
        </p:nvSpPr>
        <p:spPr>
          <a:xfrm>
            <a:off x="2425425" y="3570650"/>
            <a:ext cx="4278300" cy="1905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>
                <a:solidFill>
                  <a:srgbClr val="333333"/>
                </a:solidFill>
                <a:highlight>
                  <a:srgbClr val="FFFFFF"/>
                </a:highlight>
              </a:rPr>
              <a:t>Analytical functions on behavioral car datasets to provide improved personalized driving experience pose privacy threats.</a:t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1400"/>
              <a:buChar char="●"/>
            </a:pPr>
            <a:r>
              <a:rPr lang="en-US">
                <a:solidFill>
                  <a:srgbClr val="333333"/>
                </a:solidFill>
                <a:highlight>
                  <a:srgbClr val="FFFFFF"/>
                </a:highlight>
              </a:rPr>
              <a:t>Aggregated data sets can be used to achieve general product improvements as well.</a:t>
            </a:r>
            <a:endParaRPr>
              <a:solidFill>
                <a:srgbClr val="333333"/>
              </a:solidFill>
              <a:highlight>
                <a:srgbClr val="FFFFFF"/>
              </a:highlight>
            </a:endParaRPr>
          </a:p>
        </p:txBody>
      </p:sp>
      <p:pic>
        <p:nvPicPr>
          <p:cNvPr id="130" name="Google Shape;130;ga481ec144d_0_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69850" y="1154665"/>
            <a:ext cx="2029150" cy="1925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1" name="Google Shape;131;ga481ec144d_0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-757558">
            <a:off x="6725651" y="1600582"/>
            <a:ext cx="5027049" cy="756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Google Shape;132;ga481ec144d_0_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445512" y="2569496"/>
            <a:ext cx="3712425" cy="60597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3" name="Google Shape;133;ga481ec144d_0_0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744700" y="4528354"/>
            <a:ext cx="5070900" cy="41152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37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" name="Google Shape;138;ga481ec144d_0_1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ga481ec144d_0_17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Proposal - </a:t>
            </a:r>
            <a:r>
              <a:rPr lang="en-US"/>
              <a:t>De-Identification methods and k-anonymity</a:t>
            </a:r>
            <a:endParaRPr/>
          </a:p>
        </p:txBody>
      </p:sp>
      <p:sp>
        <p:nvSpPr>
          <p:cNvPr id="140" name="Google Shape;140;ga481ec144d_0_17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141" name="Google Shape;141;ga481ec144d_0_17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142" name="Google Shape;142;ga481ec144d_0_17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" name="Google Shape;143;ga481ec144d_0_17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" name="Google Shape;144;ga481ec144d_0_17"/>
          <p:cNvSpPr txBox="1"/>
          <p:nvPr/>
        </p:nvSpPr>
        <p:spPr>
          <a:xfrm>
            <a:off x="426925" y="948125"/>
            <a:ext cx="11430600" cy="26853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pic>
        <p:nvPicPr>
          <p:cNvPr id="145" name="Google Shape;145;ga481ec144d_0_1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70125" y="1258000"/>
            <a:ext cx="10474575" cy="771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" name="Google Shape;146;ga481ec144d_0_1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70125" y="2491925"/>
            <a:ext cx="10474574" cy="809625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ga481ec144d_0_17"/>
          <p:cNvSpPr txBox="1"/>
          <p:nvPr/>
        </p:nvSpPr>
        <p:spPr>
          <a:xfrm>
            <a:off x="6024450" y="3805125"/>
            <a:ext cx="5050500" cy="22794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/>
              <a:t>How is this helpful?</a:t>
            </a:r>
            <a:endParaRPr b="1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allows data to be used without the possibility of sensitive data being identified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with minimal or no information loss, analytics performed on the dataset returns valid outcomes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pic>
        <p:nvPicPr>
          <p:cNvPr id="148" name="Google Shape;148;ga481ec144d_0_1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615400" y="3619888"/>
            <a:ext cx="3507802" cy="263085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52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ga481ec144d_0_3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ga481ec144d_0_31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Research Questions and Approach</a:t>
            </a:r>
            <a:endParaRPr/>
          </a:p>
        </p:txBody>
      </p:sp>
      <p:sp>
        <p:nvSpPr>
          <p:cNvPr id="155" name="Google Shape;155;ga481ec144d_0_31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156" name="Google Shape;156;ga481ec144d_0_31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157" name="Google Shape;157;ga481ec144d_0_31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8" name="Google Shape;158;ga481ec144d_0_31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ga481ec144d_0_31"/>
          <p:cNvSpPr txBox="1"/>
          <p:nvPr/>
        </p:nvSpPr>
        <p:spPr>
          <a:xfrm>
            <a:off x="291150" y="816063"/>
            <a:ext cx="11609700" cy="54114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t/>
            </a:r>
            <a:endParaRPr b="0" i="0" sz="16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ga481ec144d_0_3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18125" y="1084813"/>
            <a:ext cx="886950" cy="541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1" name="Google Shape;161;ga481ec144d_0_3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93016" y="1946072"/>
            <a:ext cx="290037" cy="42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2" name="Google Shape;162;ga481ec144d_0_3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18113" y="2870450"/>
            <a:ext cx="886950" cy="541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" name="Google Shape;163;ga481ec144d_0_3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93016" y="3758122"/>
            <a:ext cx="290037" cy="42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" name="Google Shape;164;ga481ec144d_0_3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09175" y="4570488"/>
            <a:ext cx="904875" cy="552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" name="Google Shape;165;ga481ec144d_0_3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66166" y="5407172"/>
            <a:ext cx="290037" cy="42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Google Shape;166;ga481ec144d_0_3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969150" y="5187173"/>
            <a:ext cx="1792025" cy="8638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" name="Google Shape;167;ga481ec144d_0_3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721988" y="988838"/>
            <a:ext cx="9629775" cy="733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8" name="Google Shape;168;ga481ec144d_0_3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788663" y="2746388"/>
            <a:ext cx="9496425" cy="657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" name="Google Shape;169;ga481ec144d_0_31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1855338" y="4591563"/>
            <a:ext cx="9496425" cy="552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" name="Google Shape;170;ga481ec144d_0_3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3151315" y="6094200"/>
            <a:ext cx="6672659" cy="657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" name="Google Shape;171;ga481ec144d_0_3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1721988" y="1767613"/>
            <a:ext cx="5286375" cy="933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2" name="Google Shape;172;ga481ec144d_0_31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1721988" y="3502300"/>
            <a:ext cx="4829175" cy="990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3" name="Google Shape;173;ga481ec144d_0_31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8731675" y="3535625"/>
            <a:ext cx="2266950" cy="923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Google Shape;174;ga481ec144d_0_31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8656188" y="1777125"/>
            <a:ext cx="2695575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ga481ec144d_0_31"/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1972425" y="5220288"/>
            <a:ext cx="6320599" cy="7976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79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Google Shape;180;ga481ec144d_0_26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81" name="Google Shape;181;ga481ec144d_0_267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Existing techniques of k-anonymity Methods for De-identification of data sets</a:t>
            </a:r>
            <a:endParaRPr/>
          </a:p>
        </p:txBody>
      </p:sp>
      <p:sp>
        <p:nvSpPr>
          <p:cNvPr id="182" name="Google Shape;182;ga481ec144d_0_267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183" name="Google Shape;183;ga481ec144d_0_267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184" name="Google Shape;184;ga481ec144d_0_267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" name="Google Shape;185;ga481ec144d_0_267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ga481ec144d_0_267"/>
          <p:cNvSpPr txBox="1"/>
          <p:nvPr/>
        </p:nvSpPr>
        <p:spPr>
          <a:xfrm>
            <a:off x="426925" y="948125"/>
            <a:ext cx="11430600" cy="55266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t/>
            </a:r>
            <a:endParaRPr/>
          </a:p>
        </p:txBody>
      </p:sp>
      <p:pic>
        <p:nvPicPr>
          <p:cNvPr id="187" name="Google Shape;187;ga481ec144d_0_26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89225" y="1309688"/>
            <a:ext cx="2171700" cy="581025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ga481ec144d_0_267"/>
          <p:cNvSpPr txBox="1"/>
          <p:nvPr/>
        </p:nvSpPr>
        <p:spPr>
          <a:xfrm>
            <a:off x="3224100" y="1228850"/>
            <a:ext cx="7780500" cy="775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Transforming k-anonymization problem to </a:t>
            </a:r>
            <a:r>
              <a:rPr b="1" lang="en-US"/>
              <a:t>k-member clustering problem</a:t>
            </a:r>
            <a:r>
              <a:rPr lang="en-US"/>
              <a:t>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Distance and cost functions are custom specified. </a:t>
            </a:r>
            <a:endParaRPr/>
          </a:p>
        </p:txBody>
      </p:sp>
      <p:pic>
        <p:nvPicPr>
          <p:cNvPr id="189" name="Google Shape;189;ga481ec144d_0_26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89225" y="2435363"/>
            <a:ext cx="2171700" cy="581025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ga481ec144d_0_267"/>
          <p:cNvSpPr txBox="1"/>
          <p:nvPr/>
        </p:nvSpPr>
        <p:spPr>
          <a:xfrm>
            <a:off x="3297600" y="2378038"/>
            <a:ext cx="6172500" cy="6957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Uses </a:t>
            </a:r>
            <a:r>
              <a:rPr b="1" lang="en-US"/>
              <a:t>multidimensional recoding model</a:t>
            </a:r>
            <a:r>
              <a:rPr lang="en-US"/>
              <a:t> for k-anonymity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Uses greedy approximation algorithm for quality metrics.</a:t>
            </a:r>
            <a:endParaRPr/>
          </a:p>
        </p:txBody>
      </p:sp>
      <p:pic>
        <p:nvPicPr>
          <p:cNvPr id="191" name="Google Shape;191;ga481ec144d_0_26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89225" y="3677338"/>
            <a:ext cx="2171700" cy="58102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ga481ec144d_0_267"/>
          <p:cNvSpPr txBox="1"/>
          <p:nvPr/>
        </p:nvSpPr>
        <p:spPr>
          <a:xfrm>
            <a:off x="3395550" y="3612800"/>
            <a:ext cx="6702900" cy="8982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Produces </a:t>
            </a:r>
            <a:r>
              <a:rPr b="1" lang="en-US"/>
              <a:t>full-domain generalizations</a:t>
            </a:r>
            <a:r>
              <a:rPr lang="en-US"/>
              <a:t> of the data model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Key ideas used are bottom-up aggregation along generalization dimensions.</a:t>
            </a:r>
            <a:endParaRPr/>
          </a:p>
        </p:txBody>
      </p:sp>
      <p:pic>
        <p:nvPicPr>
          <p:cNvPr id="193" name="Google Shape;193;ga481ec144d_0_26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56550" y="5081588"/>
            <a:ext cx="2171700" cy="581025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ga481ec144d_0_267"/>
          <p:cNvSpPr txBox="1"/>
          <p:nvPr/>
        </p:nvSpPr>
        <p:spPr>
          <a:xfrm>
            <a:off x="3460800" y="5000750"/>
            <a:ext cx="6572400" cy="1114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Key concepts used are </a:t>
            </a:r>
            <a:r>
              <a:rPr b="1" lang="en-US"/>
              <a:t>full domain global recoding</a:t>
            </a:r>
            <a:r>
              <a:rPr lang="en-US"/>
              <a:t>, hierarchical generalisation and minimal suppression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Uses greedy algorithm to search the domain generalisation hierarchy.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1000">
        <p:fade thruBlk="1"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98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" name="Google Shape;199;ga481ec144d_0_28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00" name="Google Shape;200;ga481ec144d_0_285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Requirements for big data k-anonymity </a:t>
            </a:r>
            <a:endParaRPr/>
          </a:p>
        </p:txBody>
      </p:sp>
      <p:sp>
        <p:nvSpPr>
          <p:cNvPr id="201" name="Google Shape;201;ga481ec144d_0_285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02" name="Google Shape;202;ga481ec144d_0_285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03" name="Google Shape;203;ga481ec144d_0_285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4" name="Google Shape;204;ga481ec144d_0_285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ga481ec144d_0_285"/>
          <p:cNvSpPr txBox="1"/>
          <p:nvPr/>
        </p:nvSpPr>
        <p:spPr>
          <a:xfrm>
            <a:off x="448250" y="903775"/>
            <a:ext cx="11525400" cy="55596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pic>
        <p:nvPicPr>
          <p:cNvPr id="206" name="Google Shape;206;ga481ec144d_0_28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227438" y="1045738"/>
            <a:ext cx="2962275" cy="657225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ga481ec144d_0_285"/>
          <p:cNvSpPr txBox="1"/>
          <p:nvPr/>
        </p:nvSpPr>
        <p:spPr>
          <a:xfrm>
            <a:off x="6210250" y="2053363"/>
            <a:ext cx="5314800" cy="13494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30200" lvl="0" marL="457200" rtl="0" algn="l">
              <a:spcBef>
                <a:spcPts val="0"/>
              </a:spcBef>
              <a:spcAft>
                <a:spcPts val="0"/>
              </a:spcAft>
              <a:buSzPts val="1600"/>
              <a:buChar char="●"/>
            </a:pPr>
            <a:r>
              <a:rPr lang="en-US">
                <a:solidFill>
                  <a:schemeClr val="dk1"/>
                </a:solidFill>
                <a:highlight>
                  <a:srgbClr val="FFFFFF"/>
                </a:highlight>
              </a:rPr>
              <a:t>generalizes the data from the bottom of the taxonomy tree towards its top.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</a:pPr>
            <a:r>
              <a:rPr lang="en-US">
                <a:solidFill>
                  <a:schemeClr val="dk1"/>
                </a:solidFill>
                <a:highlight>
                  <a:srgbClr val="FFFFFF"/>
                </a:highlight>
              </a:rPr>
              <a:t>the attributes are suppressed or generalized until each row is identical with at least k-1 other rows.</a:t>
            </a:r>
            <a:endParaRPr sz="1200">
              <a:solidFill>
                <a:schemeClr val="dk1"/>
              </a:solidFill>
              <a:highlight>
                <a:srgbClr val="FFFFFF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8" name="Google Shape;208;ga481ec144d_0_285"/>
          <p:cNvSpPr txBox="1"/>
          <p:nvPr/>
        </p:nvSpPr>
        <p:spPr>
          <a:xfrm>
            <a:off x="848300" y="2089175"/>
            <a:ext cx="5053800" cy="1290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breaks down data while walking through the taxonomy tree from the top towards the bottom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starts from the topmost domain values in attribute tree, specialization is performed until k-anonymity is violated.</a:t>
            </a:r>
            <a:endParaRPr/>
          </a:p>
        </p:txBody>
      </p:sp>
      <p:pic>
        <p:nvPicPr>
          <p:cNvPr id="209" name="Google Shape;209;ga481ec144d_0_28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722629" y="3992259"/>
            <a:ext cx="290037" cy="423900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ga481ec144d_0_285"/>
          <p:cNvSpPr txBox="1"/>
          <p:nvPr/>
        </p:nvSpPr>
        <p:spPr>
          <a:xfrm>
            <a:off x="848300" y="5057900"/>
            <a:ext cx="10303200" cy="1290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Two-phase TDS approach can be used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Approaches like Parallel BUG and Hybrid BUG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Exploration of approaches combining both is a good option as well.</a:t>
            </a:r>
            <a:endParaRPr/>
          </a:p>
        </p:txBody>
      </p:sp>
      <p:pic>
        <p:nvPicPr>
          <p:cNvPr id="211" name="Google Shape;211;ga481ec144d_0_28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487938" y="1135538"/>
            <a:ext cx="2962275" cy="657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2" name="Google Shape;212;ga481ec144d_0_28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65700" y="3733325"/>
            <a:ext cx="7692500" cy="994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3" name="Google Shape;213;ga481ec144d_0_28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296888" y="3655788"/>
            <a:ext cx="2314575" cy="962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17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218;ga481ec144d_0_30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Google Shape;219;ga481ec144d_0_303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Requirements for big data k-anonymity </a:t>
            </a:r>
            <a:endParaRPr/>
          </a:p>
        </p:txBody>
      </p:sp>
      <p:sp>
        <p:nvSpPr>
          <p:cNvPr id="220" name="Google Shape;220;ga481ec144d_0_303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21" name="Google Shape;221;ga481ec144d_0_303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22" name="Google Shape;222;ga481ec144d_0_303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3" name="Google Shape;223;ga481ec144d_0_303"/>
          <p:cNvSpPr txBox="1"/>
          <p:nvPr/>
        </p:nvSpPr>
        <p:spPr>
          <a:xfrm>
            <a:off x="8934909" y="5953462"/>
            <a:ext cx="3038700" cy="584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t/>
            </a:r>
            <a:endParaRPr b="0" i="0" sz="8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ga481ec144d_0_303"/>
          <p:cNvSpPr txBox="1"/>
          <p:nvPr/>
        </p:nvSpPr>
        <p:spPr>
          <a:xfrm>
            <a:off x="426925" y="948125"/>
            <a:ext cx="11430600" cy="55266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pic>
        <p:nvPicPr>
          <p:cNvPr id="225" name="Google Shape;225;ga481ec144d_0_30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9163" y="1238963"/>
            <a:ext cx="2962275" cy="657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ga481ec144d_0_30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600138" y="1238975"/>
            <a:ext cx="2962275" cy="657225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ga481ec144d_0_303"/>
          <p:cNvSpPr txBox="1"/>
          <p:nvPr/>
        </p:nvSpPr>
        <p:spPr>
          <a:xfrm>
            <a:off x="5637188" y="1351288"/>
            <a:ext cx="457200" cy="4326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/>
              <a:t>VS</a:t>
            </a:r>
            <a:endParaRPr b="1"/>
          </a:p>
        </p:txBody>
      </p:sp>
      <p:sp>
        <p:nvSpPr>
          <p:cNvPr id="228" name="Google Shape;228;ga481ec144d_0_303"/>
          <p:cNvSpPr txBox="1"/>
          <p:nvPr/>
        </p:nvSpPr>
        <p:spPr>
          <a:xfrm>
            <a:off x="725825" y="2404500"/>
            <a:ext cx="4515000" cy="2677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can be viewed ‘integrate-then-generalize’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Generalization is performed on integrated data set post any write or update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Usefulness of data is guaranteed for analytical purpose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On big data sets, this approach could lead to space and time complexities.</a:t>
            </a:r>
            <a:endParaRPr/>
          </a:p>
        </p:txBody>
      </p:sp>
      <p:sp>
        <p:nvSpPr>
          <p:cNvPr id="229" name="Google Shape;229;ga481ec144d_0_303"/>
          <p:cNvSpPr txBox="1"/>
          <p:nvPr/>
        </p:nvSpPr>
        <p:spPr>
          <a:xfrm>
            <a:off x="6865375" y="2469800"/>
            <a:ext cx="4702500" cy="2727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can be viewed as ‘generalize-then-integrate’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Generalization is performed on horizontally partitioned dataset.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Two challenges in this approach - 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914400" rtl="0" algn="l">
              <a:spcBef>
                <a:spcPts val="0"/>
              </a:spcBef>
              <a:spcAft>
                <a:spcPts val="0"/>
              </a:spcAft>
              <a:buSzPts val="1400"/>
              <a:buAutoNum type="arabicPeriod"/>
            </a:pPr>
            <a:r>
              <a:rPr lang="en-US"/>
              <a:t>Data utility of anonymous integrated data set should be good.</a:t>
            </a:r>
            <a:endParaRPr/>
          </a:p>
          <a:p>
            <a:pPr indent="0" lvl="0" marL="9144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914400" rtl="0" algn="l">
              <a:spcBef>
                <a:spcPts val="0"/>
              </a:spcBef>
              <a:spcAft>
                <a:spcPts val="0"/>
              </a:spcAft>
              <a:buSzPts val="1400"/>
              <a:buAutoNum type="arabicPeriod"/>
            </a:pPr>
            <a:r>
              <a:rPr lang="en-US"/>
              <a:t>Prevention of data leak in the final anonymous integrated table.</a:t>
            </a:r>
            <a:endParaRPr/>
          </a:p>
        </p:txBody>
      </p:sp>
      <p:pic>
        <p:nvPicPr>
          <p:cNvPr id="230" name="Google Shape;230;ga481ec144d_0_30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 rot="5400000">
            <a:off x="5950979" y="4816859"/>
            <a:ext cx="290037" cy="42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" name="Google Shape;231;ga481ec144d_0_30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713475" y="5357050"/>
            <a:ext cx="2857500" cy="1181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35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" name="Google Shape;236;ga481ec144d_0_19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ga481ec144d_0_199"/>
          <p:cNvSpPr txBox="1"/>
          <p:nvPr>
            <p:ph type="title"/>
          </p:nvPr>
        </p:nvSpPr>
        <p:spPr>
          <a:xfrm>
            <a:off x="334437" y="44452"/>
            <a:ext cx="10586100" cy="720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0000" spcFirstLastPara="1" rIns="9000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ARX - Data Anonymization Tool</a:t>
            </a:r>
            <a:endParaRPr/>
          </a:p>
        </p:txBody>
      </p:sp>
      <p:sp>
        <p:nvSpPr>
          <p:cNvPr id="238" name="Google Shape;238;ga481ec144d_0_199"/>
          <p:cNvSpPr txBox="1"/>
          <p:nvPr>
            <p:ph idx="10" type="dt"/>
          </p:nvPr>
        </p:nvSpPr>
        <p:spPr>
          <a:xfrm>
            <a:off x="9383184" y="6570616"/>
            <a:ext cx="21420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</a:pPr>
            <a:r>
              <a:rPr lang="en-US"/>
              <a:t>© sebis</a:t>
            </a:r>
            <a:endParaRPr/>
          </a:p>
        </p:txBody>
      </p:sp>
      <p:sp>
        <p:nvSpPr>
          <p:cNvPr id="239" name="Google Shape;239;ga481ec144d_0_199"/>
          <p:cNvSpPr txBox="1"/>
          <p:nvPr>
            <p:ph idx="11" type="ftr"/>
          </p:nvPr>
        </p:nvSpPr>
        <p:spPr>
          <a:xfrm>
            <a:off x="332903" y="6569076"/>
            <a:ext cx="57615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Master Thesis | Sharada Sowmya</a:t>
            </a:r>
            <a:endParaRPr/>
          </a:p>
        </p:txBody>
      </p:sp>
      <p:sp>
        <p:nvSpPr>
          <p:cNvPr id="240" name="Google Shape;240;ga481ec144d_0_199"/>
          <p:cNvSpPr txBox="1"/>
          <p:nvPr>
            <p:ph idx="12" type="sldNum"/>
          </p:nvPr>
        </p:nvSpPr>
        <p:spPr>
          <a:xfrm>
            <a:off x="11525251" y="6570616"/>
            <a:ext cx="332400" cy="2889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0" wrap="square" tIns="4570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1" name="Google Shape;241;ga481ec144d_0_19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04825" y="1040102"/>
            <a:ext cx="11020425" cy="809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2" name="Google Shape;242;ga481ec144d_0_19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38480" y="4083725"/>
            <a:ext cx="1360995" cy="800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3" name="Google Shape;243;ga481ec144d_0_19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38475" y="5285675"/>
            <a:ext cx="1361000" cy="680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4" name="Google Shape;244;ga481ec144d_0_199"/>
          <p:cNvSpPr txBox="1"/>
          <p:nvPr/>
        </p:nvSpPr>
        <p:spPr>
          <a:xfrm>
            <a:off x="632025" y="2018725"/>
            <a:ext cx="8697600" cy="1896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Scalable upto 50 dimensions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Support to multiple privacy models like k-</a:t>
            </a:r>
            <a:r>
              <a:rPr lang="en-US"/>
              <a:t>anonymity</a:t>
            </a:r>
            <a:r>
              <a:rPr lang="en-US"/>
              <a:t>, t-closeness, l-diversity, δ-Disclosure privacy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Provision to decide data utility measure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➔"/>
            </a:pPr>
            <a:r>
              <a:rPr lang="en-US"/>
              <a:t>Uses combination of Mondrian and Incognito algorithms in a top-down specialization manner. </a:t>
            </a:r>
            <a:endParaRPr/>
          </a:p>
        </p:txBody>
      </p:sp>
      <p:sp>
        <p:nvSpPr>
          <p:cNvPr id="245" name="Google Shape;245;ga481ec144d_0_199"/>
          <p:cNvSpPr txBox="1"/>
          <p:nvPr/>
        </p:nvSpPr>
        <p:spPr>
          <a:xfrm>
            <a:off x="2575275" y="4131775"/>
            <a:ext cx="8037300" cy="8097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Proven and widely used solution for data anonymization using k-</a:t>
            </a:r>
            <a:r>
              <a:rPr lang="en-US"/>
              <a:t>anonymity</a:t>
            </a:r>
            <a:r>
              <a:rPr lang="en-US"/>
              <a:t>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The solution can be further extended to other privacy models.</a:t>
            </a:r>
            <a:endParaRPr/>
          </a:p>
        </p:txBody>
      </p:sp>
      <p:sp>
        <p:nvSpPr>
          <p:cNvPr id="246" name="Google Shape;246;ga481ec144d_0_199"/>
          <p:cNvSpPr txBox="1"/>
          <p:nvPr/>
        </p:nvSpPr>
        <p:spPr>
          <a:xfrm>
            <a:off x="2745075" y="5358100"/>
            <a:ext cx="6773100" cy="9717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No support for anonymization of location data.</a:t>
            </a:r>
            <a:endParaRPr/>
          </a:p>
          <a:p>
            <a:pPr indent="0" lvl="0" marL="45720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en-US"/>
              <a:t>Since the tool uses centralized approach, issues exist with space and time complexities.</a:t>
            </a:r>
            <a:endParaRPr/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heme/theme1.xml><?xml version="1.0" encoding="utf-8"?>
<a:theme xmlns:a="http://schemas.openxmlformats.org/drawingml/2006/main" xmlns:r="http://schemas.openxmlformats.org/officeDocument/2006/relationships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8-05-28T10:12:10Z</dcterms:created>
</cp:coreProperties>
</file>